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2" r:id="rId1"/>
  </p:sldMasterIdLst>
  <p:notesMasterIdLst>
    <p:notesMasterId r:id="rId14"/>
  </p:notesMasterIdLst>
  <p:handoutMasterIdLst>
    <p:handoutMasterId r:id="rId15"/>
  </p:handoutMasterIdLst>
  <p:sldIdLst>
    <p:sldId id="2386" r:id="rId2"/>
    <p:sldId id="2715" r:id="rId3"/>
    <p:sldId id="2389" r:id="rId4"/>
    <p:sldId id="2724" r:id="rId5"/>
    <p:sldId id="2711" r:id="rId6"/>
    <p:sldId id="2725" r:id="rId7"/>
    <p:sldId id="2709" r:id="rId8"/>
    <p:sldId id="2718" r:id="rId9"/>
    <p:sldId id="2714" r:id="rId10"/>
    <p:sldId id="2726" r:id="rId11"/>
    <p:sldId id="2727" r:id="rId12"/>
    <p:sldId id="2729" r:id="rId13"/>
  </p:sldIdLst>
  <p:sldSz cx="9144000" cy="5143500" type="screen16x9"/>
  <p:notesSz cx="6761163" cy="9942513"/>
  <p:custDataLst>
    <p:tags r:id="rId16"/>
  </p:custDataLst>
  <p:defaultTextStyle>
    <a:defPPr>
      <a:defRPr lang="en-US"/>
    </a:defPPr>
    <a:lvl1pPr marL="0" algn="l" defTabSz="29153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91531" algn="l" defTabSz="29153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583063" algn="l" defTabSz="29153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874593" algn="l" defTabSz="29153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166125" algn="l" defTabSz="29153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1457656" algn="l" defTabSz="29153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1749188" algn="l" defTabSz="29153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040718" algn="l" defTabSz="29153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2332251" algn="l" defTabSz="29153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. Title" id="{AF818734-2365-4D80-A677-3087CF906DDD}">
          <p14:sldIdLst>
            <p14:sldId id="2386"/>
            <p14:sldId id="2715"/>
            <p14:sldId id="2389"/>
            <p14:sldId id="2724"/>
            <p14:sldId id="2711"/>
            <p14:sldId id="2725"/>
            <p14:sldId id="2709"/>
            <p14:sldId id="2718"/>
            <p14:sldId id="2714"/>
            <p14:sldId id="2726"/>
            <p14:sldId id="2727"/>
            <p14:sldId id="27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26" userDrawn="1">
          <p15:clr>
            <a:srgbClr val="A4A3A4"/>
          </p15:clr>
        </p15:guide>
        <p15:guide id="2" pos="4037" userDrawn="1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 Ak" initials="I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33"/>
    <a:srgbClr val="CC9900"/>
    <a:srgbClr val="FF9900"/>
    <a:srgbClr val="E6E8ED"/>
    <a:srgbClr val="AD0101"/>
    <a:srgbClr val="FFBBBB"/>
    <a:srgbClr val="FF8481"/>
    <a:srgbClr val="FF9997"/>
    <a:srgbClr val="FF8181"/>
    <a:srgbClr val="CF01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EFBE1A-AE00-4E29-8341-502C7F6BF8AA}" v="30407" dt="2020-11-14T15:51:55.5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35" autoAdjust="0"/>
    <p:restoredTop sz="94913" autoAdjust="0"/>
  </p:normalViewPr>
  <p:slideViewPr>
    <p:cSldViewPr snapToGrid="0">
      <p:cViewPr varScale="1">
        <p:scale>
          <a:sx n="90" d="100"/>
          <a:sy n="90" d="100"/>
        </p:scale>
        <p:origin x="508" y="56"/>
      </p:cViewPr>
      <p:guideLst>
        <p:guide orient="horz" pos="3026"/>
        <p:guide pos="4037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131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682"/>
    </p:cViewPr>
  </p:sorterViewPr>
  <p:notesViewPr>
    <p:cSldViewPr snapToGrid="0">
      <p:cViewPr varScale="1">
        <p:scale>
          <a:sx n="54" d="100"/>
          <a:sy n="54" d="100"/>
        </p:scale>
        <p:origin x="3341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925925925925923E-2"/>
          <c:y val="4.3650793650793648E-2"/>
          <c:w val="0.94907407407407407"/>
          <c:h val="0.775161542307211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случаев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</c:v>
                </c:pt>
                <c:pt idx="1">
                  <c:v>17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2D-47DB-9F50-7D5094D4EF2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ичество районов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5</c:v>
                </c:pt>
                <c:pt idx="1">
                  <c:v>10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2D-47DB-9F50-7D5094D4EF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3319056"/>
        <c:axId val="363318728"/>
      </c:barChart>
      <c:catAx>
        <c:axId val="363319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63318728"/>
        <c:crosses val="autoZero"/>
        <c:auto val="1"/>
        <c:lblAlgn val="ctr"/>
        <c:lblOffset val="100"/>
        <c:noMultiLvlLbl val="0"/>
      </c:catAx>
      <c:valAx>
        <c:axId val="36331872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63319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14A1340-8D05-40EE-AE90-98D99E038495}" type="doc">
      <dgm:prSet loTypeId="urn:microsoft.com/office/officeart/2005/8/layout/default" loCatId="list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ru-RU"/>
        </a:p>
      </dgm:t>
    </dgm:pt>
    <dgm:pt modelId="{E4D6C0D3-59BB-4B11-9A64-323F8CC003E9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Концепция развития службы психолого-педагогического и социального сопровождения системы образования  Забайкальского края на период до 2025 года (приказ Минобразования Забайкальского края от 25.08.2021 № 787)</a:t>
          </a:r>
        </a:p>
        <a:p>
          <a:pPr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D0C8DB-ACBF-481F-A59A-2318806F2D84}" type="parTrans" cxnId="{E5925DA6-5EFE-41D5-94B7-77646C4758A1}">
      <dgm:prSet/>
      <dgm:spPr/>
      <dgm:t>
        <a:bodyPr/>
        <a:lstStyle/>
        <a:p>
          <a:endParaRPr lang="ru-RU"/>
        </a:p>
      </dgm:t>
    </dgm:pt>
    <dgm:pt modelId="{6685DD6F-5CE6-4CEC-96FE-BF6E0F02243F}" type="sibTrans" cxnId="{E5925DA6-5EFE-41D5-94B7-77646C4758A1}">
      <dgm:prSet/>
      <dgm:spPr/>
      <dgm:t>
        <a:bodyPr/>
        <a:lstStyle/>
        <a:p>
          <a:endParaRPr lang="ru-RU"/>
        </a:p>
      </dgm:t>
    </dgm:pt>
    <dgm:pt modelId="{A4718443-D572-4F78-B02A-B8F05B2741FE}">
      <dgm:prSet phldrT="[Текст]" custT="1"/>
      <dgm:spPr/>
      <dgm:t>
        <a:bodyPr/>
        <a:lstStyle/>
        <a:p>
          <a:pPr>
            <a:buNone/>
          </a:pPr>
          <a:r>
            <a:rPr lang="ru-RU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Приказ Министерства образования и науки Забайкальского края №143 от 10 февраля 2021 года («О технологии модерации кризисных ситуаций в образовательном пространстве Забайкальского края»)</a:t>
          </a:r>
        </a:p>
      </dgm:t>
    </dgm:pt>
    <dgm:pt modelId="{8AEA8EDC-B0E0-475D-8ACC-BE5C40490A4C}" type="parTrans" cxnId="{EC3F3785-8982-4496-86FC-DE1EBFE3A515}">
      <dgm:prSet/>
      <dgm:spPr/>
      <dgm:t>
        <a:bodyPr/>
        <a:lstStyle/>
        <a:p>
          <a:endParaRPr lang="ru-RU"/>
        </a:p>
      </dgm:t>
    </dgm:pt>
    <dgm:pt modelId="{C9C10CF4-FA9F-4A8E-975D-B7EA814E047A}" type="sibTrans" cxnId="{EC3F3785-8982-4496-86FC-DE1EBFE3A515}">
      <dgm:prSet/>
      <dgm:spPr/>
      <dgm:t>
        <a:bodyPr/>
        <a:lstStyle/>
        <a:p>
          <a:endParaRPr lang="ru-RU"/>
        </a:p>
      </dgm:t>
    </dgm:pt>
    <dgm:pt modelId="{B862ED1E-BFC9-472B-8E5B-F94AB3149E14}" type="pres">
      <dgm:prSet presAssocID="{214A1340-8D05-40EE-AE90-98D99E038495}" presName="diagram" presStyleCnt="0">
        <dgm:presLayoutVars>
          <dgm:dir/>
          <dgm:resizeHandles val="exact"/>
        </dgm:presLayoutVars>
      </dgm:prSet>
      <dgm:spPr/>
    </dgm:pt>
    <dgm:pt modelId="{1ED1CA8A-D325-4911-889E-CF6876BEBBD2}" type="pres">
      <dgm:prSet presAssocID="{E4D6C0D3-59BB-4B11-9A64-323F8CC003E9}" presName="node" presStyleLbl="node1" presStyleIdx="0" presStyleCnt="2" custScaleX="126075" custLinFactNeighborX="11662" custLinFactNeighborY="-35840">
        <dgm:presLayoutVars>
          <dgm:bulletEnabled val="1"/>
        </dgm:presLayoutVars>
      </dgm:prSet>
      <dgm:spPr/>
    </dgm:pt>
    <dgm:pt modelId="{10806868-FD4F-4AA3-BB5E-5375FDE51DCA}" type="pres">
      <dgm:prSet presAssocID="{6685DD6F-5CE6-4CEC-96FE-BF6E0F02243F}" presName="sibTrans" presStyleCnt="0"/>
      <dgm:spPr/>
    </dgm:pt>
    <dgm:pt modelId="{74CE28B5-4E39-4F16-9AC9-1CA25343E152}" type="pres">
      <dgm:prSet presAssocID="{A4718443-D572-4F78-B02A-B8F05B2741FE}" presName="node" presStyleLbl="node1" presStyleIdx="1" presStyleCnt="2" custScaleX="126075" custLinFactNeighborX="-27030" custLinFactNeighborY="40389">
        <dgm:presLayoutVars>
          <dgm:bulletEnabled val="1"/>
        </dgm:presLayoutVars>
      </dgm:prSet>
      <dgm:spPr/>
    </dgm:pt>
  </dgm:ptLst>
  <dgm:cxnLst>
    <dgm:cxn modelId="{F0C46F3D-EF0A-437D-A0DB-CE0487D8D194}" type="presOf" srcId="{A4718443-D572-4F78-B02A-B8F05B2741FE}" destId="{74CE28B5-4E39-4F16-9AC9-1CA25343E152}" srcOrd="0" destOrd="0" presId="urn:microsoft.com/office/officeart/2005/8/layout/default"/>
    <dgm:cxn modelId="{EC3F3785-8982-4496-86FC-DE1EBFE3A515}" srcId="{214A1340-8D05-40EE-AE90-98D99E038495}" destId="{A4718443-D572-4F78-B02A-B8F05B2741FE}" srcOrd="1" destOrd="0" parTransId="{8AEA8EDC-B0E0-475D-8ACC-BE5C40490A4C}" sibTransId="{C9C10CF4-FA9F-4A8E-975D-B7EA814E047A}"/>
    <dgm:cxn modelId="{E5925DA6-5EFE-41D5-94B7-77646C4758A1}" srcId="{214A1340-8D05-40EE-AE90-98D99E038495}" destId="{E4D6C0D3-59BB-4B11-9A64-323F8CC003E9}" srcOrd="0" destOrd="0" parTransId="{B4D0C8DB-ACBF-481F-A59A-2318806F2D84}" sibTransId="{6685DD6F-5CE6-4CEC-96FE-BF6E0F02243F}"/>
    <dgm:cxn modelId="{57368EAE-A73F-48C5-9FE1-83BFB68A9D83}" type="presOf" srcId="{214A1340-8D05-40EE-AE90-98D99E038495}" destId="{B862ED1E-BFC9-472B-8E5B-F94AB3149E14}" srcOrd="0" destOrd="0" presId="urn:microsoft.com/office/officeart/2005/8/layout/default"/>
    <dgm:cxn modelId="{3C86F5D1-E01A-4733-9DE8-B1E73E94E7A6}" type="presOf" srcId="{E4D6C0D3-59BB-4B11-9A64-323F8CC003E9}" destId="{1ED1CA8A-D325-4911-889E-CF6876BEBBD2}" srcOrd="0" destOrd="0" presId="urn:microsoft.com/office/officeart/2005/8/layout/default"/>
    <dgm:cxn modelId="{8C155C58-B4D1-4A47-886A-5B22B644CADA}" type="presParOf" srcId="{B862ED1E-BFC9-472B-8E5B-F94AB3149E14}" destId="{1ED1CA8A-D325-4911-889E-CF6876BEBBD2}" srcOrd="0" destOrd="0" presId="urn:microsoft.com/office/officeart/2005/8/layout/default"/>
    <dgm:cxn modelId="{55428AF5-BC58-42D5-B3F4-9447BD1AB630}" type="presParOf" srcId="{B862ED1E-BFC9-472B-8E5B-F94AB3149E14}" destId="{10806868-FD4F-4AA3-BB5E-5375FDE51DCA}" srcOrd="1" destOrd="0" presId="urn:microsoft.com/office/officeart/2005/8/layout/default"/>
    <dgm:cxn modelId="{8E8E810F-1CCB-48FF-9947-E176A48C8ED5}" type="presParOf" srcId="{B862ED1E-BFC9-472B-8E5B-F94AB3149E14}" destId="{74CE28B5-4E39-4F16-9AC9-1CA25343E152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2FB8712-BA24-41E1-B239-8228245AD707}" type="doc">
      <dgm:prSet loTypeId="urn:microsoft.com/office/officeart/2005/8/layout/default" loCatId="list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ru-RU"/>
        </a:p>
      </dgm:t>
    </dgm:pt>
    <dgm:pt modelId="{14048789-2155-43F0-83B0-9DD74A26D2C3}">
      <dgm:prSet phldrT="[Текст]" custT="1"/>
      <dgm:spPr/>
      <dgm:t>
        <a:bodyPr/>
        <a:lstStyle/>
        <a:p>
          <a:r>
            <a: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Цель:</a:t>
          </a:r>
          <a:r>
            <a: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организационно-методическая поддержка работы специалистов образования по решению кризисных ситуаций участников образовательных отношений.</a:t>
          </a:r>
          <a:endParaRPr lang="ru-RU" sz="1400" dirty="0"/>
        </a:p>
      </dgm:t>
    </dgm:pt>
    <dgm:pt modelId="{44C4F8BF-F45B-451E-8288-C4BE358B4259}" type="parTrans" cxnId="{90D3C4BF-833A-45AD-B996-EEABCB14C10F}">
      <dgm:prSet/>
      <dgm:spPr/>
      <dgm:t>
        <a:bodyPr/>
        <a:lstStyle/>
        <a:p>
          <a:endParaRPr lang="ru-RU"/>
        </a:p>
      </dgm:t>
    </dgm:pt>
    <dgm:pt modelId="{FF0F5C23-D360-4161-8530-666123BE1287}" type="sibTrans" cxnId="{90D3C4BF-833A-45AD-B996-EEABCB14C10F}">
      <dgm:prSet/>
      <dgm:spPr/>
      <dgm:t>
        <a:bodyPr/>
        <a:lstStyle/>
        <a:p>
          <a:endParaRPr lang="ru-RU"/>
        </a:p>
      </dgm:t>
    </dgm:pt>
    <dgm:pt modelId="{2B245752-DF6D-4013-A130-3CBC3B88E183}">
      <dgm:prSet phldrT="[Текст]" custT="1"/>
      <dgm:spPr/>
      <dgm:t>
        <a:bodyPr/>
        <a:lstStyle/>
        <a:p>
          <a:r>
            <a: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Задачи:</a:t>
          </a:r>
        </a:p>
        <a:p>
          <a:r>
            <a: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 повышение результативности деятельности специалистов системы образования по решению кризисной ситуации;</a:t>
          </a:r>
        </a:p>
        <a:p>
          <a:r>
            <a: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 повышение качества оказания психолого-педагогической помощи субъектам образовательных отношений в кризисных ситуациях.</a:t>
          </a:r>
          <a:endParaRPr lang="ru-RU" sz="1200" dirty="0"/>
        </a:p>
      </dgm:t>
    </dgm:pt>
    <dgm:pt modelId="{85D2E8CC-ED51-4318-B3F2-3D2811FCB584}" type="parTrans" cxnId="{5313BD64-FD32-4EDD-BF55-CC92C6C4DD33}">
      <dgm:prSet/>
      <dgm:spPr/>
      <dgm:t>
        <a:bodyPr/>
        <a:lstStyle/>
        <a:p>
          <a:endParaRPr lang="ru-RU"/>
        </a:p>
      </dgm:t>
    </dgm:pt>
    <dgm:pt modelId="{2751749C-9CFC-4C1F-804B-7CA2D69DBC1E}" type="sibTrans" cxnId="{5313BD64-FD32-4EDD-BF55-CC92C6C4DD33}">
      <dgm:prSet/>
      <dgm:spPr/>
      <dgm:t>
        <a:bodyPr/>
        <a:lstStyle/>
        <a:p>
          <a:endParaRPr lang="ru-RU"/>
        </a:p>
      </dgm:t>
    </dgm:pt>
    <dgm:pt modelId="{F438F554-5327-4F2C-83C3-E5FE3089A5DA}">
      <dgm:prSet phldrT="[Текст]" custT="1"/>
      <dgm:spPr/>
      <dgm:t>
        <a:bodyPr/>
        <a:lstStyle/>
        <a:p>
          <a:r>
            <a: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Целевая аудитория: </a:t>
          </a:r>
        </a:p>
        <a:p>
          <a:r>
            <a: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. специалисты системы образования,</a:t>
          </a:r>
        </a:p>
        <a:p>
          <a:r>
            <a: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. субъекты, оказавшиеся в кризисной ситуации/«носители кризисных ситуаций».</a:t>
          </a:r>
          <a:endParaRPr lang="ru-RU" sz="1400" dirty="0"/>
        </a:p>
      </dgm:t>
    </dgm:pt>
    <dgm:pt modelId="{069027A2-B988-4112-BAC2-7A08779EAF29}" type="parTrans" cxnId="{ACB6CAE0-E730-45F0-9F10-C6DF2881D186}">
      <dgm:prSet/>
      <dgm:spPr/>
      <dgm:t>
        <a:bodyPr/>
        <a:lstStyle/>
        <a:p>
          <a:endParaRPr lang="ru-RU"/>
        </a:p>
      </dgm:t>
    </dgm:pt>
    <dgm:pt modelId="{0D5B1272-4247-4007-B7D5-8A7F3F5F7F6F}" type="sibTrans" cxnId="{ACB6CAE0-E730-45F0-9F10-C6DF2881D186}">
      <dgm:prSet/>
      <dgm:spPr/>
      <dgm:t>
        <a:bodyPr/>
        <a:lstStyle/>
        <a:p>
          <a:endParaRPr lang="ru-RU"/>
        </a:p>
      </dgm:t>
    </dgm:pt>
    <dgm:pt modelId="{D636C8CC-AF17-4ABB-B95E-1ECD31517396}">
      <dgm:prSet phldrT="[Текст]" custT="1"/>
      <dgm:spPr/>
      <dgm:t>
        <a:bodyPr/>
        <a:lstStyle/>
        <a:p>
          <a:r>
            <a: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Задачи:</a:t>
          </a:r>
        </a:p>
        <a:p>
          <a:r>
            <a: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 обеспечить оперативное опосредованное управление кризисной ситуацией; </a:t>
          </a:r>
        </a:p>
        <a:p>
          <a:r>
            <a: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 создать условия для реализации посреднической функции модератора на уровне межведомственного взаимодействия.</a:t>
          </a:r>
          <a:endParaRPr lang="ru-RU" sz="1200" dirty="0"/>
        </a:p>
      </dgm:t>
    </dgm:pt>
    <dgm:pt modelId="{C9086378-7C59-48B3-993E-A9F920BE4583}" type="parTrans" cxnId="{4B68FC25-6993-4DDA-A05D-E51E6982699C}">
      <dgm:prSet/>
      <dgm:spPr/>
      <dgm:t>
        <a:bodyPr/>
        <a:lstStyle/>
        <a:p>
          <a:endParaRPr lang="ru-RU"/>
        </a:p>
      </dgm:t>
    </dgm:pt>
    <dgm:pt modelId="{2DFE4153-1630-47F3-99BC-50F056EC2A55}" type="sibTrans" cxnId="{4B68FC25-6993-4DDA-A05D-E51E6982699C}">
      <dgm:prSet/>
      <dgm:spPr/>
      <dgm:t>
        <a:bodyPr/>
        <a:lstStyle/>
        <a:p>
          <a:endParaRPr lang="ru-RU"/>
        </a:p>
      </dgm:t>
    </dgm:pt>
    <dgm:pt modelId="{FD3A27BA-BCF1-4CE6-9336-E42D0AE83FE0}">
      <dgm:prSet phldrT="[Текст]" custT="1"/>
      <dgm:spPr/>
      <dgm:t>
        <a:bodyPr/>
        <a:lstStyle/>
        <a:p>
          <a:r>
            <a: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Участвующие субъекты: </a:t>
          </a:r>
        </a:p>
        <a:p>
          <a:r>
            <a:rPr lang="ru-RU" sz="12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. </a:t>
          </a:r>
          <a:r>
            <a: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Министерство образования и науки Забайкальского края (Администратор модерации)</a:t>
          </a:r>
        </a:p>
        <a:p>
          <a:r>
            <a: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. ГУ «Центр «Семья» (Модератор модерации)</a:t>
          </a:r>
        </a:p>
        <a:p>
          <a:r>
            <a: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3. Муниципальные </a:t>
          </a:r>
          <a:r>
            <a:rPr lang="ru-RU" sz="120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рганы управления </a:t>
          </a:r>
          <a:r>
            <a: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бразования (Куратор модерации)</a:t>
          </a:r>
        </a:p>
        <a:p>
          <a:r>
            <a: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4. Муниципальные антикризисные службы/ муниципальные методические службы (Оператор модерации)</a:t>
          </a:r>
          <a:endParaRPr lang="ru-RU" sz="1200" dirty="0"/>
        </a:p>
      </dgm:t>
    </dgm:pt>
    <dgm:pt modelId="{B46DFB05-EF76-45DE-BC47-5054C4D1B465}" type="parTrans" cxnId="{305D78FE-B069-432E-BFB6-09051FD49717}">
      <dgm:prSet/>
      <dgm:spPr/>
      <dgm:t>
        <a:bodyPr/>
        <a:lstStyle/>
        <a:p>
          <a:endParaRPr lang="ru-RU"/>
        </a:p>
      </dgm:t>
    </dgm:pt>
    <dgm:pt modelId="{2AB95B99-5927-4843-935A-ADAFF0375AC3}" type="sibTrans" cxnId="{305D78FE-B069-432E-BFB6-09051FD49717}">
      <dgm:prSet/>
      <dgm:spPr/>
      <dgm:t>
        <a:bodyPr/>
        <a:lstStyle/>
        <a:p>
          <a:endParaRPr lang="ru-RU"/>
        </a:p>
      </dgm:t>
    </dgm:pt>
    <dgm:pt modelId="{BBAAEAF4-C29F-4F5A-B68D-4ADD736805FD}" type="pres">
      <dgm:prSet presAssocID="{C2FB8712-BA24-41E1-B239-8228245AD707}" presName="diagram" presStyleCnt="0">
        <dgm:presLayoutVars>
          <dgm:dir/>
          <dgm:resizeHandles val="exact"/>
        </dgm:presLayoutVars>
      </dgm:prSet>
      <dgm:spPr/>
    </dgm:pt>
    <dgm:pt modelId="{19055812-805A-4982-B6AA-264593B1D9D8}" type="pres">
      <dgm:prSet presAssocID="{14048789-2155-43F0-83B0-9DD74A26D2C3}" presName="node" presStyleLbl="node1" presStyleIdx="0" presStyleCnt="5" custScaleX="136366" custScaleY="125860">
        <dgm:presLayoutVars>
          <dgm:bulletEnabled val="1"/>
        </dgm:presLayoutVars>
      </dgm:prSet>
      <dgm:spPr/>
    </dgm:pt>
    <dgm:pt modelId="{DC359C50-3918-4247-A4D5-1E33964D00F0}" type="pres">
      <dgm:prSet presAssocID="{FF0F5C23-D360-4161-8530-666123BE1287}" presName="sibTrans" presStyleCnt="0"/>
      <dgm:spPr/>
    </dgm:pt>
    <dgm:pt modelId="{295E19E5-D793-4A08-96EE-0C2AABA41A7A}" type="pres">
      <dgm:prSet presAssocID="{D636C8CC-AF17-4ABB-B95E-1ECD31517396}" presName="node" presStyleLbl="node1" presStyleIdx="1" presStyleCnt="5" custScaleX="136366" custScaleY="122768">
        <dgm:presLayoutVars>
          <dgm:bulletEnabled val="1"/>
        </dgm:presLayoutVars>
      </dgm:prSet>
      <dgm:spPr/>
    </dgm:pt>
    <dgm:pt modelId="{BBED33CB-9F0E-4DF9-9E37-A752C830B9D3}" type="pres">
      <dgm:prSet presAssocID="{2DFE4153-1630-47F3-99BC-50F056EC2A55}" presName="sibTrans" presStyleCnt="0"/>
      <dgm:spPr/>
    </dgm:pt>
    <dgm:pt modelId="{0FF5B92E-E6E7-41C0-A870-CE8E16F55F4A}" type="pres">
      <dgm:prSet presAssocID="{2B245752-DF6D-4013-A130-3CBC3B88E183}" presName="node" presStyleLbl="node1" presStyleIdx="2" presStyleCnt="5" custScaleX="136366" custScaleY="127406">
        <dgm:presLayoutVars>
          <dgm:bulletEnabled val="1"/>
        </dgm:presLayoutVars>
      </dgm:prSet>
      <dgm:spPr/>
    </dgm:pt>
    <dgm:pt modelId="{79B1B362-7F4C-4D8F-9533-1939B6E63277}" type="pres">
      <dgm:prSet presAssocID="{2751749C-9CFC-4C1F-804B-7CA2D69DBC1E}" presName="sibTrans" presStyleCnt="0"/>
      <dgm:spPr/>
    </dgm:pt>
    <dgm:pt modelId="{ABD77F80-F1FC-4F25-AF0A-801833096FC5}" type="pres">
      <dgm:prSet presAssocID="{F438F554-5327-4F2C-83C3-E5FE3089A5DA}" presName="node" presStyleLbl="node1" presStyleIdx="3" presStyleCnt="5" custScaleX="136366" custScaleY="133391">
        <dgm:presLayoutVars>
          <dgm:bulletEnabled val="1"/>
        </dgm:presLayoutVars>
      </dgm:prSet>
      <dgm:spPr/>
    </dgm:pt>
    <dgm:pt modelId="{F8FFD290-2EFE-43A9-AC5A-5586F014AFB8}" type="pres">
      <dgm:prSet presAssocID="{0D5B1272-4247-4007-B7D5-8A7F3F5F7F6F}" presName="sibTrans" presStyleCnt="0"/>
      <dgm:spPr/>
    </dgm:pt>
    <dgm:pt modelId="{F983F3EE-BD07-48F1-B9FC-608901C4E4C7}" type="pres">
      <dgm:prSet presAssocID="{FD3A27BA-BCF1-4CE6-9336-E42D0AE83FE0}" presName="node" presStyleLbl="node1" presStyleIdx="4" presStyleCnt="5" custScaleX="198741" custScaleY="142066">
        <dgm:presLayoutVars>
          <dgm:bulletEnabled val="1"/>
        </dgm:presLayoutVars>
      </dgm:prSet>
      <dgm:spPr/>
    </dgm:pt>
  </dgm:ptLst>
  <dgm:cxnLst>
    <dgm:cxn modelId="{AD4DE800-81A0-40A8-89EA-97121BCE38EC}" type="presOf" srcId="{D636C8CC-AF17-4ABB-B95E-1ECD31517396}" destId="{295E19E5-D793-4A08-96EE-0C2AABA41A7A}" srcOrd="0" destOrd="0" presId="urn:microsoft.com/office/officeart/2005/8/layout/default"/>
    <dgm:cxn modelId="{4B68FC25-6993-4DDA-A05D-E51E6982699C}" srcId="{C2FB8712-BA24-41E1-B239-8228245AD707}" destId="{D636C8CC-AF17-4ABB-B95E-1ECD31517396}" srcOrd="1" destOrd="0" parTransId="{C9086378-7C59-48B3-993E-A9F920BE4583}" sibTransId="{2DFE4153-1630-47F3-99BC-50F056EC2A55}"/>
    <dgm:cxn modelId="{5313BD64-FD32-4EDD-BF55-CC92C6C4DD33}" srcId="{C2FB8712-BA24-41E1-B239-8228245AD707}" destId="{2B245752-DF6D-4013-A130-3CBC3B88E183}" srcOrd="2" destOrd="0" parTransId="{85D2E8CC-ED51-4318-B3F2-3D2811FCB584}" sibTransId="{2751749C-9CFC-4C1F-804B-7CA2D69DBC1E}"/>
    <dgm:cxn modelId="{08CF3B4C-FA19-4942-BE55-8CEBC2863953}" type="presOf" srcId="{14048789-2155-43F0-83B0-9DD74A26D2C3}" destId="{19055812-805A-4982-B6AA-264593B1D9D8}" srcOrd="0" destOrd="0" presId="urn:microsoft.com/office/officeart/2005/8/layout/default"/>
    <dgm:cxn modelId="{10EFB355-19B6-48C9-827F-74AFDACC9C11}" type="presOf" srcId="{C2FB8712-BA24-41E1-B239-8228245AD707}" destId="{BBAAEAF4-C29F-4F5A-B68D-4ADD736805FD}" srcOrd="0" destOrd="0" presId="urn:microsoft.com/office/officeart/2005/8/layout/default"/>
    <dgm:cxn modelId="{A38E0B8F-66F7-44C2-AFD1-0CA98B4105A0}" type="presOf" srcId="{F438F554-5327-4F2C-83C3-E5FE3089A5DA}" destId="{ABD77F80-F1FC-4F25-AF0A-801833096FC5}" srcOrd="0" destOrd="0" presId="urn:microsoft.com/office/officeart/2005/8/layout/default"/>
    <dgm:cxn modelId="{90D3C4BF-833A-45AD-B996-EEABCB14C10F}" srcId="{C2FB8712-BA24-41E1-B239-8228245AD707}" destId="{14048789-2155-43F0-83B0-9DD74A26D2C3}" srcOrd="0" destOrd="0" parTransId="{44C4F8BF-F45B-451E-8288-C4BE358B4259}" sibTransId="{FF0F5C23-D360-4161-8530-666123BE1287}"/>
    <dgm:cxn modelId="{ACB6CAE0-E730-45F0-9F10-C6DF2881D186}" srcId="{C2FB8712-BA24-41E1-B239-8228245AD707}" destId="{F438F554-5327-4F2C-83C3-E5FE3089A5DA}" srcOrd="3" destOrd="0" parTransId="{069027A2-B988-4112-BAC2-7A08779EAF29}" sibTransId="{0D5B1272-4247-4007-B7D5-8A7F3F5F7F6F}"/>
    <dgm:cxn modelId="{59C46CE6-CB56-4AF6-B52A-FD50176C2B1C}" type="presOf" srcId="{FD3A27BA-BCF1-4CE6-9336-E42D0AE83FE0}" destId="{F983F3EE-BD07-48F1-B9FC-608901C4E4C7}" srcOrd="0" destOrd="0" presId="urn:microsoft.com/office/officeart/2005/8/layout/default"/>
    <dgm:cxn modelId="{12CFFCF8-17B1-44EC-A153-82E8B2775D74}" type="presOf" srcId="{2B245752-DF6D-4013-A130-3CBC3B88E183}" destId="{0FF5B92E-E6E7-41C0-A870-CE8E16F55F4A}" srcOrd="0" destOrd="0" presId="urn:microsoft.com/office/officeart/2005/8/layout/default"/>
    <dgm:cxn modelId="{305D78FE-B069-432E-BFB6-09051FD49717}" srcId="{C2FB8712-BA24-41E1-B239-8228245AD707}" destId="{FD3A27BA-BCF1-4CE6-9336-E42D0AE83FE0}" srcOrd="4" destOrd="0" parTransId="{B46DFB05-EF76-45DE-BC47-5054C4D1B465}" sibTransId="{2AB95B99-5927-4843-935A-ADAFF0375AC3}"/>
    <dgm:cxn modelId="{D9DE3896-E21D-40FB-9B42-19834B86927E}" type="presParOf" srcId="{BBAAEAF4-C29F-4F5A-B68D-4ADD736805FD}" destId="{19055812-805A-4982-B6AA-264593B1D9D8}" srcOrd="0" destOrd="0" presId="urn:microsoft.com/office/officeart/2005/8/layout/default"/>
    <dgm:cxn modelId="{F756992E-38FB-4FB3-8781-8E0F39D499CD}" type="presParOf" srcId="{BBAAEAF4-C29F-4F5A-B68D-4ADD736805FD}" destId="{DC359C50-3918-4247-A4D5-1E33964D00F0}" srcOrd="1" destOrd="0" presId="urn:microsoft.com/office/officeart/2005/8/layout/default"/>
    <dgm:cxn modelId="{ED3E4DB2-D1F7-4CFE-8A46-0066942086D6}" type="presParOf" srcId="{BBAAEAF4-C29F-4F5A-B68D-4ADD736805FD}" destId="{295E19E5-D793-4A08-96EE-0C2AABA41A7A}" srcOrd="2" destOrd="0" presId="urn:microsoft.com/office/officeart/2005/8/layout/default"/>
    <dgm:cxn modelId="{6D165021-A839-4D42-80AF-8CDC200998FD}" type="presParOf" srcId="{BBAAEAF4-C29F-4F5A-B68D-4ADD736805FD}" destId="{BBED33CB-9F0E-4DF9-9E37-A752C830B9D3}" srcOrd="3" destOrd="0" presId="urn:microsoft.com/office/officeart/2005/8/layout/default"/>
    <dgm:cxn modelId="{1F1978A7-6465-44AD-9BAF-F785FBE920B7}" type="presParOf" srcId="{BBAAEAF4-C29F-4F5A-B68D-4ADD736805FD}" destId="{0FF5B92E-E6E7-41C0-A870-CE8E16F55F4A}" srcOrd="4" destOrd="0" presId="urn:microsoft.com/office/officeart/2005/8/layout/default"/>
    <dgm:cxn modelId="{81775629-F3B6-41F6-8649-C9BE692ABB99}" type="presParOf" srcId="{BBAAEAF4-C29F-4F5A-B68D-4ADD736805FD}" destId="{79B1B362-7F4C-4D8F-9533-1939B6E63277}" srcOrd="5" destOrd="0" presId="urn:microsoft.com/office/officeart/2005/8/layout/default"/>
    <dgm:cxn modelId="{914C152D-8960-432E-8C38-A3B753A82409}" type="presParOf" srcId="{BBAAEAF4-C29F-4F5A-B68D-4ADD736805FD}" destId="{ABD77F80-F1FC-4F25-AF0A-801833096FC5}" srcOrd="6" destOrd="0" presId="urn:microsoft.com/office/officeart/2005/8/layout/default"/>
    <dgm:cxn modelId="{44A33983-657B-46A7-BCFF-3985DDBB5466}" type="presParOf" srcId="{BBAAEAF4-C29F-4F5A-B68D-4ADD736805FD}" destId="{F8FFD290-2EFE-43A9-AC5A-5586F014AFB8}" srcOrd="7" destOrd="0" presId="urn:microsoft.com/office/officeart/2005/8/layout/default"/>
    <dgm:cxn modelId="{9380EFFB-3C6D-4AC7-AD88-A8F47F8568BC}" type="presParOf" srcId="{BBAAEAF4-C29F-4F5A-B68D-4ADD736805FD}" destId="{F983F3EE-BD07-48F1-B9FC-608901C4E4C7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7940922-ED7B-40FE-B813-1345992443E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80E51B2-391C-4E8C-94BD-9A0FB700524E}">
      <dgm:prSet phldrT="[Текст]"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Всего случаев - 27</a:t>
          </a:r>
        </a:p>
      </dgm:t>
    </dgm:pt>
    <dgm:pt modelId="{5DBF9755-C0C9-4BAB-8C0D-787862BB5947}" type="parTrans" cxnId="{49DA5CCA-E78F-4F03-8601-FC0E6A9908AB}">
      <dgm:prSet/>
      <dgm:spPr/>
      <dgm:t>
        <a:bodyPr/>
        <a:lstStyle/>
        <a:p>
          <a:endParaRPr lang="ru-RU"/>
        </a:p>
      </dgm:t>
    </dgm:pt>
    <dgm:pt modelId="{4C2D0E44-F3FA-4207-B978-B1F34227CF27}" type="sibTrans" cxnId="{49DA5CCA-E78F-4F03-8601-FC0E6A9908AB}">
      <dgm:prSet/>
      <dgm:spPr/>
      <dgm:t>
        <a:bodyPr/>
        <a:lstStyle/>
        <a:p>
          <a:endParaRPr lang="ru-RU"/>
        </a:p>
      </dgm:t>
    </dgm:pt>
    <dgm:pt modelId="{1206E470-6BAF-4EBD-87DC-A38729336939}">
      <dgm:prSet phldrT="[Текст]" custT="1"/>
      <dgm:spPr/>
      <dgm:t>
        <a:bodyPr/>
        <a:lstStyle/>
        <a:p>
          <a:pPr algn="ctr"/>
          <a:r>
            <a:rPr lang="ru-RU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Запросы из 14 районов Забайкальского края </a:t>
          </a:r>
        </a:p>
        <a:p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(всего 35 районов)</a:t>
          </a:r>
        </a:p>
      </dgm:t>
    </dgm:pt>
    <dgm:pt modelId="{813B210A-1425-4649-8A17-8C85D812238A}" type="parTrans" cxnId="{DDB6C049-40CB-47EC-B606-51E0F8324CF8}">
      <dgm:prSet/>
      <dgm:spPr/>
      <dgm:t>
        <a:bodyPr/>
        <a:lstStyle/>
        <a:p>
          <a:endParaRPr lang="ru-RU"/>
        </a:p>
      </dgm:t>
    </dgm:pt>
    <dgm:pt modelId="{0A483E2A-E0B7-4474-80C6-604452064F10}" type="sibTrans" cxnId="{DDB6C049-40CB-47EC-B606-51E0F8324CF8}">
      <dgm:prSet/>
      <dgm:spPr/>
      <dgm:t>
        <a:bodyPr/>
        <a:lstStyle/>
        <a:p>
          <a:endParaRPr lang="ru-RU"/>
        </a:p>
      </dgm:t>
    </dgm:pt>
    <dgm:pt modelId="{C4AC6953-8F40-4B9C-AA44-4172B198CBE8}">
      <dgm:prSet phldrT="[Текст]"/>
      <dgm:spPr/>
      <dgm:t>
        <a:bodyPr/>
        <a:lstStyle/>
        <a:p>
          <a:endParaRPr lang="ru-RU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8498617-CF88-416C-B3E8-628A981B9026}" type="sibTrans" cxnId="{36015518-4233-463F-9F5D-D43272FFF73C}">
      <dgm:prSet/>
      <dgm:spPr/>
      <dgm:t>
        <a:bodyPr/>
        <a:lstStyle/>
        <a:p>
          <a:endParaRPr lang="ru-RU"/>
        </a:p>
      </dgm:t>
    </dgm:pt>
    <dgm:pt modelId="{4EA7A00F-B627-47DA-9013-8A605F10DC10}" type="parTrans" cxnId="{36015518-4233-463F-9F5D-D43272FFF73C}">
      <dgm:prSet/>
      <dgm:spPr/>
      <dgm:t>
        <a:bodyPr/>
        <a:lstStyle/>
        <a:p>
          <a:endParaRPr lang="ru-RU"/>
        </a:p>
      </dgm:t>
    </dgm:pt>
    <dgm:pt modelId="{FFAC1325-BBEA-4212-9E67-7C3C56624D46}" type="pres">
      <dgm:prSet presAssocID="{F7940922-ED7B-40FE-B813-1345992443EB}" presName="vert0" presStyleCnt="0">
        <dgm:presLayoutVars>
          <dgm:dir/>
          <dgm:animOne val="branch"/>
          <dgm:animLvl val="lvl"/>
        </dgm:presLayoutVars>
      </dgm:prSet>
      <dgm:spPr/>
    </dgm:pt>
    <dgm:pt modelId="{9338A839-C281-4378-9E28-FE7E6C8A2E76}" type="pres">
      <dgm:prSet presAssocID="{C4AC6953-8F40-4B9C-AA44-4172B198CBE8}" presName="thickLine" presStyleLbl="alignNode1" presStyleIdx="0" presStyleCnt="1"/>
      <dgm:spPr/>
    </dgm:pt>
    <dgm:pt modelId="{5A64BEE9-A459-4E52-9D7D-9A91BA1B499A}" type="pres">
      <dgm:prSet presAssocID="{C4AC6953-8F40-4B9C-AA44-4172B198CBE8}" presName="horz1" presStyleCnt="0"/>
      <dgm:spPr/>
    </dgm:pt>
    <dgm:pt modelId="{9CA16627-9CEE-4527-AF34-3A702A2319A0}" type="pres">
      <dgm:prSet presAssocID="{C4AC6953-8F40-4B9C-AA44-4172B198CBE8}" presName="tx1" presStyleLbl="revTx" presStyleIdx="0" presStyleCnt="3"/>
      <dgm:spPr/>
    </dgm:pt>
    <dgm:pt modelId="{A01A95B2-0227-4CFB-8116-512487AC7276}" type="pres">
      <dgm:prSet presAssocID="{C4AC6953-8F40-4B9C-AA44-4172B198CBE8}" presName="vert1" presStyleCnt="0"/>
      <dgm:spPr/>
    </dgm:pt>
    <dgm:pt modelId="{49F9F3B9-9C58-40E0-8491-F36BAC744C85}" type="pres">
      <dgm:prSet presAssocID="{180E51B2-391C-4E8C-94BD-9A0FB700524E}" presName="vertSpace2a" presStyleCnt="0"/>
      <dgm:spPr/>
    </dgm:pt>
    <dgm:pt modelId="{700FF83E-EE26-457D-A996-9D39EAC7245D}" type="pres">
      <dgm:prSet presAssocID="{180E51B2-391C-4E8C-94BD-9A0FB700524E}" presName="horz2" presStyleCnt="0"/>
      <dgm:spPr/>
    </dgm:pt>
    <dgm:pt modelId="{3DA88388-627F-45AF-8BEA-F8E4C9586F61}" type="pres">
      <dgm:prSet presAssocID="{180E51B2-391C-4E8C-94BD-9A0FB700524E}" presName="horzSpace2" presStyleCnt="0"/>
      <dgm:spPr/>
    </dgm:pt>
    <dgm:pt modelId="{18917D85-1E37-4E37-8523-E8BC4675C4C4}" type="pres">
      <dgm:prSet presAssocID="{180E51B2-391C-4E8C-94BD-9A0FB700524E}" presName="tx2" presStyleLbl="revTx" presStyleIdx="1" presStyleCnt="3"/>
      <dgm:spPr/>
    </dgm:pt>
    <dgm:pt modelId="{F1930AB8-23AA-496D-9D1D-9097A9807DAC}" type="pres">
      <dgm:prSet presAssocID="{180E51B2-391C-4E8C-94BD-9A0FB700524E}" presName="vert2" presStyleCnt="0"/>
      <dgm:spPr/>
    </dgm:pt>
    <dgm:pt modelId="{662FA3CD-F7C8-4122-8D8C-AAC74A4563F7}" type="pres">
      <dgm:prSet presAssocID="{180E51B2-391C-4E8C-94BD-9A0FB700524E}" presName="thinLine2b" presStyleLbl="callout" presStyleIdx="0" presStyleCnt="2"/>
      <dgm:spPr>
        <a:ln>
          <a:solidFill>
            <a:schemeClr val="accent5">
              <a:lumMod val="50000"/>
            </a:schemeClr>
          </a:solidFill>
        </a:ln>
      </dgm:spPr>
    </dgm:pt>
    <dgm:pt modelId="{E434D7B7-568A-470D-9146-478E6AD7E3D2}" type="pres">
      <dgm:prSet presAssocID="{180E51B2-391C-4E8C-94BD-9A0FB700524E}" presName="vertSpace2b" presStyleCnt="0"/>
      <dgm:spPr/>
    </dgm:pt>
    <dgm:pt modelId="{76065135-DBBC-4651-B356-6FCA4CF7A086}" type="pres">
      <dgm:prSet presAssocID="{1206E470-6BAF-4EBD-87DC-A38729336939}" presName="horz2" presStyleCnt="0"/>
      <dgm:spPr/>
    </dgm:pt>
    <dgm:pt modelId="{E8A3ADF7-3686-4769-B65F-692D7C24D22E}" type="pres">
      <dgm:prSet presAssocID="{1206E470-6BAF-4EBD-87DC-A38729336939}" presName="horzSpace2" presStyleCnt="0"/>
      <dgm:spPr/>
    </dgm:pt>
    <dgm:pt modelId="{23C9826F-FAD0-423C-8143-62B2F1DACD7E}" type="pres">
      <dgm:prSet presAssocID="{1206E470-6BAF-4EBD-87DC-A38729336939}" presName="tx2" presStyleLbl="revTx" presStyleIdx="2" presStyleCnt="3"/>
      <dgm:spPr/>
    </dgm:pt>
    <dgm:pt modelId="{1FF2739B-7BD9-4814-A676-6D35AABA684F}" type="pres">
      <dgm:prSet presAssocID="{1206E470-6BAF-4EBD-87DC-A38729336939}" presName="vert2" presStyleCnt="0"/>
      <dgm:spPr/>
    </dgm:pt>
    <dgm:pt modelId="{BDF822A0-993F-4B74-97C5-D3FD94818C78}" type="pres">
      <dgm:prSet presAssocID="{1206E470-6BAF-4EBD-87DC-A38729336939}" presName="thinLine2b" presStyleLbl="callout" presStyleIdx="1" presStyleCnt="2"/>
      <dgm:spPr>
        <a:ln>
          <a:solidFill>
            <a:srgbClr val="CC9900"/>
          </a:solidFill>
        </a:ln>
      </dgm:spPr>
    </dgm:pt>
    <dgm:pt modelId="{51FBEF00-F32F-41C8-9399-101964D876E6}" type="pres">
      <dgm:prSet presAssocID="{1206E470-6BAF-4EBD-87DC-A38729336939}" presName="vertSpace2b" presStyleCnt="0"/>
      <dgm:spPr/>
    </dgm:pt>
  </dgm:ptLst>
  <dgm:cxnLst>
    <dgm:cxn modelId="{36015518-4233-463F-9F5D-D43272FFF73C}" srcId="{F7940922-ED7B-40FE-B813-1345992443EB}" destId="{C4AC6953-8F40-4B9C-AA44-4172B198CBE8}" srcOrd="0" destOrd="0" parTransId="{4EA7A00F-B627-47DA-9013-8A605F10DC10}" sibTransId="{28498617-CF88-416C-B3E8-628A981B9026}"/>
    <dgm:cxn modelId="{AA0CD332-8025-4162-A856-10F55A78DF6D}" type="presOf" srcId="{C4AC6953-8F40-4B9C-AA44-4172B198CBE8}" destId="{9CA16627-9CEE-4527-AF34-3A702A2319A0}" srcOrd="0" destOrd="0" presId="urn:microsoft.com/office/officeart/2008/layout/LinedList"/>
    <dgm:cxn modelId="{DDB6C049-40CB-47EC-B606-51E0F8324CF8}" srcId="{C4AC6953-8F40-4B9C-AA44-4172B198CBE8}" destId="{1206E470-6BAF-4EBD-87DC-A38729336939}" srcOrd="1" destOrd="0" parTransId="{813B210A-1425-4649-8A17-8C85D812238A}" sibTransId="{0A483E2A-E0B7-4474-80C6-604452064F10}"/>
    <dgm:cxn modelId="{0A2A6256-9495-4C86-B5FF-5139E1887EF8}" type="presOf" srcId="{F7940922-ED7B-40FE-B813-1345992443EB}" destId="{FFAC1325-BBEA-4212-9E67-7C3C56624D46}" srcOrd="0" destOrd="0" presId="urn:microsoft.com/office/officeart/2008/layout/LinedList"/>
    <dgm:cxn modelId="{6844D17E-E7A6-4CF3-A605-1E5066DE2791}" type="presOf" srcId="{180E51B2-391C-4E8C-94BD-9A0FB700524E}" destId="{18917D85-1E37-4E37-8523-E8BC4675C4C4}" srcOrd="0" destOrd="0" presId="urn:microsoft.com/office/officeart/2008/layout/LinedList"/>
    <dgm:cxn modelId="{49DA5CCA-E78F-4F03-8601-FC0E6A9908AB}" srcId="{C4AC6953-8F40-4B9C-AA44-4172B198CBE8}" destId="{180E51B2-391C-4E8C-94BD-9A0FB700524E}" srcOrd="0" destOrd="0" parTransId="{5DBF9755-C0C9-4BAB-8C0D-787862BB5947}" sibTransId="{4C2D0E44-F3FA-4207-B978-B1F34227CF27}"/>
    <dgm:cxn modelId="{19913BD3-79A4-4F3D-840E-3B8153AC3C34}" type="presOf" srcId="{1206E470-6BAF-4EBD-87DC-A38729336939}" destId="{23C9826F-FAD0-423C-8143-62B2F1DACD7E}" srcOrd="0" destOrd="0" presId="urn:microsoft.com/office/officeart/2008/layout/LinedList"/>
    <dgm:cxn modelId="{D2AB609A-76F2-4C53-972B-BC0C8F8CE112}" type="presParOf" srcId="{FFAC1325-BBEA-4212-9E67-7C3C56624D46}" destId="{9338A839-C281-4378-9E28-FE7E6C8A2E76}" srcOrd="0" destOrd="0" presId="urn:microsoft.com/office/officeart/2008/layout/LinedList"/>
    <dgm:cxn modelId="{09940862-6069-4E1A-AAD3-5634E0B73ADE}" type="presParOf" srcId="{FFAC1325-BBEA-4212-9E67-7C3C56624D46}" destId="{5A64BEE9-A459-4E52-9D7D-9A91BA1B499A}" srcOrd="1" destOrd="0" presId="urn:microsoft.com/office/officeart/2008/layout/LinedList"/>
    <dgm:cxn modelId="{D2220FFF-45C2-42F9-95C9-CB461F9F477E}" type="presParOf" srcId="{5A64BEE9-A459-4E52-9D7D-9A91BA1B499A}" destId="{9CA16627-9CEE-4527-AF34-3A702A2319A0}" srcOrd="0" destOrd="0" presId="urn:microsoft.com/office/officeart/2008/layout/LinedList"/>
    <dgm:cxn modelId="{5A8FD7CE-4B49-4FAF-84F4-27DB3707C6A8}" type="presParOf" srcId="{5A64BEE9-A459-4E52-9D7D-9A91BA1B499A}" destId="{A01A95B2-0227-4CFB-8116-512487AC7276}" srcOrd="1" destOrd="0" presId="urn:microsoft.com/office/officeart/2008/layout/LinedList"/>
    <dgm:cxn modelId="{ECAA5494-35DA-4200-A241-A31064D15AEC}" type="presParOf" srcId="{A01A95B2-0227-4CFB-8116-512487AC7276}" destId="{49F9F3B9-9C58-40E0-8491-F36BAC744C85}" srcOrd="0" destOrd="0" presId="urn:microsoft.com/office/officeart/2008/layout/LinedList"/>
    <dgm:cxn modelId="{F25D866E-A34E-46E9-84F2-193AE6513F8D}" type="presParOf" srcId="{A01A95B2-0227-4CFB-8116-512487AC7276}" destId="{700FF83E-EE26-457D-A996-9D39EAC7245D}" srcOrd="1" destOrd="0" presId="urn:microsoft.com/office/officeart/2008/layout/LinedList"/>
    <dgm:cxn modelId="{CE9234CB-F3B4-431A-8270-8FDEFB2DB14F}" type="presParOf" srcId="{700FF83E-EE26-457D-A996-9D39EAC7245D}" destId="{3DA88388-627F-45AF-8BEA-F8E4C9586F61}" srcOrd="0" destOrd="0" presId="urn:microsoft.com/office/officeart/2008/layout/LinedList"/>
    <dgm:cxn modelId="{98CAD4F5-53CE-4DCA-A23F-81D744DF8F7E}" type="presParOf" srcId="{700FF83E-EE26-457D-A996-9D39EAC7245D}" destId="{18917D85-1E37-4E37-8523-E8BC4675C4C4}" srcOrd="1" destOrd="0" presId="urn:microsoft.com/office/officeart/2008/layout/LinedList"/>
    <dgm:cxn modelId="{5E186698-EA86-4760-BEDD-D849BEA91630}" type="presParOf" srcId="{700FF83E-EE26-457D-A996-9D39EAC7245D}" destId="{F1930AB8-23AA-496D-9D1D-9097A9807DAC}" srcOrd="2" destOrd="0" presId="urn:microsoft.com/office/officeart/2008/layout/LinedList"/>
    <dgm:cxn modelId="{B9702A9A-04AB-4D99-A678-B4E57ADA4F9E}" type="presParOf" srcId="{A01A95B2-0227-4CFB-8116-512487AC7276}" destId="{662FA3CD-F7C8-4122-8D8C-AAC74A4563F7}" srcOrd="2" destOrd="0" presId="urn:microsoft.com/office/officeart/2008/layout/LinedList"/>
    <dgm:cxn modelId="{EE117A6C-8700-4769-BDCB-D51BFF2F2C63}" type="presParOf" srcId="{A01A95B2-0227-4CFB-8116-512487AC7276}" destId="{E434D7B7-568A-470D-9146-478E6AD7E3D2}" srcOrd="3" destOrd="0" presId="urn:microsoft.com/office/officeart/2008/layout/LinedList"/>
    <dgm:cxn modelId="{8357CFC0-E069-4982-8AC4-BE058ABA1BB5}" type="presParOf" srcId="{A01A95B2-0227-4CFB-8116-512487AC7276}" destId="{76065135-DBBC-4651-B356-6FCA4CF7A086}" srcOrd="4" destOrd="0" presId="urn:microsoft.com/office/officeart/2008/layout/LinedList"/>
    <dgm:cxn modelId="{DB759616-5CC6-4F90-85D0-127453E2A692}" type="presParOf" srcId="{76065135-DBBC-4651-B356-6FCA4CF7A086}" destId="{E8A3ADF7-3686-4769-B65F-692D7C24D22E}" srcOrd="0" destOrd="0" presId="urn:microsoft.com/office/officeart/2008/layout/LinedList"/>
    <dgm:cxn modelId="{62DB0AC1-6F59-413A-9BFB-7BD996DCE032}" type="presParOf" srcId="{76065135-DBBC-4651-B356-6FCA4CF7A086}" destId="{23C9826F-FAD0-423C-8143-62B2F1DACD7E}" srcOrd="1" destOrd="0" presId="urn:microsoft.com/office/officeart/2008/layout/LinedList"/>
    <dgm:cxn modelId="{7EAF83B9-365F-4F90-8A6E-596C99E6983D}" type="presParOf" srcId="{76065135-DBBC-4651-B356-6FCA4CF7A086}" destId="{1FF2739B-7BD9-4814-A676-6D35AABA684F}" srcOrd="2" destOrd="0" presId="urn:microsoft.com/office/officeart/2008/layout/LinedList"/>
    <dgm:cxn modelId="{4D585398-96F2-4301-9B25-3129865D47A7}" type="presParOf" srcId="{A01A95B2-0227-4CFB-8116-512487AC7276}" destId="{BDF822A0-993F-4B74-97C5-D3FD94818C78}" srcOrd="5" destOrd="0" presId="urn:microsoft.com/office/officeart/2008/layout/LinedList"/>
    <dgm:cxn modelId="{93EF46F3-92BC-4957-8B9B-1B6D55762878}" type="presParOf" srcId="{A01A95B2-0227-4CFB-8116-512487AC7276}" destId="{51FBEF00-F32F-41C8-9399-101964D876E6}" srcOrd="6" destOrd="0" presId="urn:microsoft.com/office/officeart/2008/layout/LinedList"/>
  </dgm:cxnLst>
  <dgm:bg/>
  <dgm:whole>
    <a:ln>
      <a:solidFill>
        <a:schemeClr val="accent6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33D9FD4-AD4E-4357-8238-AD80073F6C95}" type="doc">
      <dgm:prSet loTypeId="urn:microsoft.com/office/officeart/2005/8/layout/hList1" loCatId="list" qsTypeId="urn:microsoft.com/office/officeart/2005/8/quickstyle/simple5" qsCatId="simple" csTypeId="urn:microsoft.com/office/officeart/2005/8/colors/accent6_1" csCatId="accent6" phldr="1"/>
      <dgm:spPr/>
      <dgm:t>
        <a:bodyPr/>
        <a:lstStyle/>
        <a:p>
          <a:endParaRPr lang="ru-RU"/>
        </a:p>
      </dgm:t>
    </dgm:pt>
    <dgm:pt modelId="{1F5A4CE6-C2AE-4DCB-9D4C-610E4223D900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Эффективность</a:t>
          </a:r>
        </a:p>
      </dgm:t>
    </dgm:pt>
    <dgm:pt modelId="{20BD7B55-9E7C-497D-AF36-8D8199B61318}" type="parTrans" cxnId="{3DE5BE9C-A05C-4FCD-8BF9-8145A18BD2C2}">
      <dgm:prSet/>
      <dgm:spPr/>
      <dgm:t>
        <a:bodyPr/>
        <a:lstStyle/>
        <a:p>
          <a:endParaRPr lang="ru-RU"/>
        </a:p>
      </dgm:t>
    </dgm:pt>
    <dgm:pt modelId="{ADBB4344-9A60-47E7-9707-AF75FCCC77B3}" type="sibTrans" cxnId="{3DE5BE9C-A05C-4FCD-8BF9-8145A18BD2C2}">
      <dgm:prSet/>
      <dgm:spPr/>
      <dgm:t>
        <a:bodyPr/>
        <a:lstStyle/>
        <a:p>
          <a:endParaRPr lang="ru-RU"/>
        </a:p>
      </dgm:t>
    </dgm:pt>
    <dgm:pt modelId="{A64E0C81-67FC-48A8-BC16-A69174648A7E}">
      <dgm:prSet phldrT="[Текст]"/>
      <dgm:spPr/>
      <dgm:t>
        <a:bodyPr/>
        <a:lstStyle/>
        <a:p>
          <a:pPr algn="just">
            <a:buClr>
              <a:schemeClr val="accent6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98% операторов отмечают эффективность Технологии</a:t>
          </a:r>
        </a:p>
      </dgm:t>
    </dgm:pt>
    <dgm:pt modelId="{4DA256CE-0779-45D1-84D8-9FF6702E1C77}" type="parTrans" cxnId="{42CD21F0-EB1D-4D13-A350-5E19CC4B774E}">
      <dgm:prSet/>
      <dgm:spPr/>
      <dgm:t>
        <a:bodyPr/>
        <a:lstStyle/>
        <a:p>
          <a:endParaRPr lang="ru-RU"/>
        </a:p>
      </dgm:t>
    </dgm:pt>
    <dgm:pt modelId="{D1601A54-3DEE-4650-817A-B69F737C20A6}" type="sibTrans" cxnId="{42CD21F0-EB1D-4D13-A350-5E19CC4B774E}">
      <dgm:prSet/>
      <dgm:spPr/>
      <dgm:t>
        <a:bodyPr/>
        <a:lstStyle/>
        <a:p>
          <a:endParaRPr lang="ru-RU"/>
        </a:p>
      </dgm:t>
    </dgm:pt>
    <dgm:pt modelId="{5C3D4D38-ADA1-4E69-972A-5BC69DB4A9C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остребованность</a:t>
          </a:r>
        </a:p>
      </dgm:t>
    </dgm:pt>
    <dgm:pt modelId="{506C8942-788E-40AB-BFDA-31CE043299F7}" type="parTrans" cxnId="{C516874C-C2CF-4890-A74C-9C7DE7B40808}">
      <dgm:prSet/>
      <dgm:spPr/>
      <dgm:t>
        <a:bodyPr/>
        <a:lstStyle/>
        <a:p>
          <a:endParaRPr lang="ru-RU"/>
        </a:p>
      </dgm:t>
    </dgm:pt>
    <dgm:pt modelId="{CC19706C-BAB2-4BBA-BC52-5A8B8A334B79}" type="sibTrans" cxnId="{C516874C-C2CF-4890-A74C-9C7DE7B40808}">
      <dgm:prSet/>
      <dgm:spPr/>
      <dgm:t>
        <a:bodyPr/>
        <a:lstStyle/>
        <a:p>
          <a:endParaRPr lang="ru-RU"/>
        </a:p>
      </dgm:t>
    </dgm:pt>
    <dgm:pt modelId="{F899300C-BCFF-4AE5-8D2A-58DB4A0C900A}">
      <dgm:prSet phldrT="[Текст]"/>
      <dgm:spPr/>
      <dgm:t>
        <a:bodyPr/>
        <a:lstStyle/>
        <a:p>
          <a:pPr algn="just">
            <a:buClr>
              <a:schemeClr val="accent6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ольшое количество обращений за </a:t>
          </a:r>
          <a:r>
            <a:rPr lang="ru-RU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одерацией</a:t>
          </a:r>
          <a:r>
            <a: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лучая (каждый месяц, как минимум, 1 обращение из муниципалитета)</a:t>
          </a:r>
        </a:p>
      </dgm:t>
    </dgm:pt>
    <dgm:pt modelId="{A294FE9A-16AB-4A82-85DF-45DC03657DCE}" type="parTrans" cxnId="{A2BCCE69-0346-4E7A-91E6-4D3E3CD32C98}">
      <dgm:prSet/>
      <dgm:spPr/>
      <dgm:t>
        <a:bodyPr/>
        <a:lstStyle/>
        <a:p>
          <a:endParaRPr lang="ru-RU"/>
        </a:p>
      </dgm:t>
    </dgm:pt>
    <dgm:pt modelId="{E6D4F546-BEF4-45F6-9A2E-2F726095BA47}" type="sibTrans" cxnId="{A2BCCE69-0346-4E7A-91E6-4D3E3CD32C98}">
      <dgm:prSet/>
      <dgm:spPr/>
      <dgm:t>
        <a:bodyPr/>
        <a:lstStyle/>
        <a:p>
          <a:endParaRPr lang="ru-RU"/>
        </a:p>
      </dgm:t>
    </dgm:pt>
    <dgm:pt modelId="{843968A3-8B12-484E-9494-BF3E077B217C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оступность</a:t>
          </a:r>
        </a:p>
      </dgm:t>
    </dgm:pt>
    <dgm:pt modelId="{E446FE2F-65A8-46BC-BADC-2E60DEBE96FD}" type="parTrans" cxnId="{CDA54992-D281-4FE9-A36D-68C40005A77C}">
      <dgm:prSet/>
      <dgm:spPr/>
      <dgm:t>
        <a:bodyPr/>
        <a:lstStyle/>
        <a:p>
          <a:endParaRPr lang="ru-RU"/>
        </a:p>
      </dgm:t>
    </dgm:pt>
    <dgm:pt modelId="{A32F8778-1DF2-46FD-83A4-6DA3ACDABF00}" type="sibTrans" cxnId="{CDA54992-D281-4FE9-A36D-68C40005A77C}">
      <dgm:prSet/>
      <dgm:spPr/>
      <dgm:t>
        <a:bodyPr/>
        <a:lstStyle/>
        <a:p>
          <a:endParaRPr lang="ru-RU"/>
        </a:p>
      </dgm:t>
    </dgm:pt>
    <dgm:pt modelId="{1F111A30-D78D-472D-B006-FE78D19E367A}">
      <dgm:prSet phldrT="[Текст]"/>
      <dgm:spPr/>
      <dgm:t>
        <a:bodyPr/>
        <a:lstStyle/>
        <a:p>
          <a:pPr algn="just">
            <a:buClr>
              <a:schemeClr val="accent6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Мобильная реакция модератора на запросы о модерации случая (в течении суток)</a:t>
          </a:r>
        </a:p>
      </dgm:t>
    </dgm:pt>
    <dgm:pt modelId="{0AD76C4A-23A9-4BA9-AE15-389609F0B22E}" type="parTrans" cxnId="{DC526943-C33F-487F-BB83-FBD867B8FD36}">
      <dgm:prSet/>
      <dgm:spPr/>
      <dgm:t>
        <a:bodyPr/>
        <a:lstStyle/>
        <a:p>
          <a:endParaRPr lang="ru-RU"/>
        </a:p>
      </dgm:t>
    </dgm:pt>
    <dgm:pt modelId="{AEC50335-1A30-42A4-AD48-76E40283D018}" type="sibTrans" cxnId="{DC526943-C33F-487F-BB83-FBD867B8FD36}">
      <dgm:prSet/>
      <dgm:spPr/>
      <dgm:t>
        <a:bodyPr/>
        <a:lstStyle/>
        <a:p>
          <a:endParaRPr lang="ru-RU"/>
        </a:p>
      </dgm:t>
    </dgm:pt>
    <dgm:pt modelId="{0384ADCD-6C13-4552-AA46-876A76597832}" type="pres">
      <dgm:prSet presAssocID="{633D9FD4-AD4E-4357-8238-AD80073F6C95}" presName="Name0" presStyleCnt="0">
        <dgm:presLayoutVars>
          <dgm:dir/>
          <dgm:animLvl val="lvl"/>
          <dgm:resizeHandles val="exact"/>
        </dgm:presLayoutVars>
      </dgm:prSet>
      <dgm:spPr/>
    </dgm:pt>
    <dgm:pt modelId="{BA00A819-9B3B-468D-96AD-5F238F005F2C}" type="pres">
      <dgm:prSet presAssocID="{1F5A4CE6-C2AE-4DCB-9D4C-610E4223D900}" presName="composite" presStyleCnt="0"/>
      <dgm:spPr/>
    </dgm:pt>
    <dgm:pt modelId="{54C057E5-A57B-4B4C-9AED-DF046BEBE162}" type="pres">
      <dgm:prSet presAssocID="{1F5A4CE6-C2AE-4DCB-9D4C-610E4223D900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34800888-257C-43FC-8AC8-A3ADCDE5B566}" type="pres">
      <dgm:prSet presAssocID="{1F5A4CE6-C2AE-4DCB-9D4C-610E4223D900}" presName="desTx" presStyleLbl="alignAccFollowNode1" presStyleIdx="0" presStyleCnt="3">
        <dgm:presLayoutVars>
          <dgm:bulletEnabled val="1"/>
        </dgm:presLayoutVars>
      </dgm:prSet>
      <dgm:spPr/>
    </dgm:pt>
    <dgm:pt modelId="{25087BE8-69A3-4C72-ADD9-3A2BFF9B9006}" type="pres">
      <dgm:prSet presAssocID="{ADBB4344-9A60-47E7-9707-AF75FCCC77B3}" presName="space" presStyleCnt="0"/>
      <dgm:spPr/>
    </dgm:pt>
    <dgm:pt modelId="{B86CB825-95A5-4471-949E-0B24F500FD3E}" type="pres">
      <dgm:prSet presAssocID="{5C3D4D38-ADA1-4E69-972A-5BC69DB4A9C9}" presName="composite" presStyleCnt="0"/>
      <dgm:spPr/>
    </dgm:pt>
    <dgm:pt modelId="{BFF4519F-FE15-4481-B4DF-8933A5E35461}" type="pres">
      <dgm:prSet presAssocID="{5C3D4D38-ADA1-4E69-972A-5BC69DB4A9C9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52CBC5B7-2935-4EC1-8B58-BB75E8DCCF53}" type="pres">
      <dgm:prSet presAssocID="{5C3D4D38-ADA1-4E69-972A-5BC69DB4A9C9}" presName="desTx" presStyleLbl="alignAccFollowNode1" presStyleIdx="1" presStyleCnt="3">
        <dgm:presLayoutVars>
          <dgm:bulletEnabled val="1"/>
        </dgm:presLayoutVars>
      </dgm:prSet>
      <dgm:spPr/>
    </dgm:pt>
    <dgm:pt modelId="{B0067A9A-3C4C-4A18-8D6F-4F0EEB1CB2BE}" type="pres">
      <dgm:prSet presAssocID="{CC19706C-BAB2-4BBA-BC52-5A8B8A334B79}" presName="space" presStyleCnt="0"/>
      <dgm:spPr/>
    </dgm:pt>
    <dgm:pt modelId="{892C6DC4-22BB-4F76-B45E-2D6066CAFDCD}" type="pres">
      <dgm:prSet presAssocID="{843968A3-8B12-484E-9494-BF3E077B217C}" presName="composite" presStyleCnt="0"/>
      <dgm:spPr/>
    </dgm:pt>
    <dgm:pt modelId="{258AD88D-9B8E-4879-948C-B7D09341D613}" type="pres">
      <dgm:prSet presAssocID="{843968A3-8B12-484E-9494-BF3E077B217C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CB7E4EAA-76FC-4171-987E-156995E09162}" type="pres">
      <dgm:prSet presAssocID="{843968A3-8B12-484E-9494-BF3E077B217C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6C188C62-49AC-48D1-97C5-AB76BCC35F52}" type="presOf" srcId="{F899300C-BCFF-4AE5-8D2A-58DB4A0C900A}" destId="{52CBC5B7-2935-4EC1-8B58-BB75E8DCCF53}" srcOrd="0" destOrd="0" presId="urn:microsoft.com/office/officeart/2005/8/layout/hList1"/>
    <dgm:cxn modelId="{CA7AA262-839B-4377-9B07-729E545313A1}" type="presOf" srcId="{633D9FD4-AD4E-4357-8238-AD80073F6C95}" destId="{0384ADCD-6C13-4552-AA46-876A76597832}" srcOrd="0" destOrd="0" presId="urn:microsoft.com/office/officeart/2005/8/layout/hList1"/>
    <dgm:cxn modelId="{DC526943-C33F-487F-BB83-FBD867B8FD36}" srcId="{843968A3-8B12-484E-9494-BF3E077B217C}" destId="{1F111A30-D78D-472D-B006-FE78D19E367A}" srcOrd="0" destOrd="0" parTransId="{0AD76C4A-23A9-4BA9-AE15-389609F0B22E}" sibTransId="{AEC50335-1A30-42A4-AD48-76E40283D018}"/>
    <dgm:cxn modelId="{A2BCCE69-0346-4E7A-91E6-4D3E3CD32C98}" srcId="{5C3D4D38-ADA1-4E69-972A-5BC69DB4A9C9}" destId="{F899300C-BCFF-4AE5-8D2A-58DB4A0C900A}" srcOrd="0" destOrd="0" parTransId="{A294FE9A-16AB-4A82-85DF-45DC03657DCE}" sibTransId="{E6D4F546-BEF4-45F6-9A2E-2F726095BA47}"/>
    <dgm:cxn modelId="{C516874C-C2CF-4890-A74C-9C7DE7B40808}" srcId="{633D9FD4-AD4E-4357-8238-AD80073F6C95}" destId="{5C3D4D38-ADA1-4E69-972A-5BC69DB4A9C9}" srcOrd="1" destOrd="0" parTransId="{506C8942-788E-40AB-BFDA-31CE043299F7}" sibTransId="{CC19706C-BAB2-4BBA-BC52-5A8B8A334B79}"/>
    <dgm:cxn modelId="{659D9E50-0839-4233-ADDF-E9DF2B8ABF34}" type="presOf" srcId="{1F111A30-D78D-472D-B006-FE78D19E367A}" destId="{CB7E4EAA-76FC-4171-987E-156995E09162}" srcOrd="0" destOrd="0" presId="urn:microsoft.com/office/officeart/2005/8/layout/hList1"/>
    <dgm:cxn modelId="{CDA54992-D281-4FE9-A36D-68C40005A77C}" srcId="{633D9FD4-AD4E-4357-8238-AD80073F6C95}" destId="{843968A3-8B12-484E-9494-BF3E077B217C}" srcOrd="2" destOrd="0" parTransId="{E446FE2F-65A8-46BC-BADC-2E60DEBE96FD}" sibTransId="{A32F8778-1DF2-46FD-83A4-6DA3ACDABF00}"/>
    <dgm:cxn modelId="{3DE5BE9C-A05C-4FCD-8BF9-8145A18BD2C2}" srcId="{633D9FD4-AD4E-4357-8238-AD80073F6C95}" destId="{1F5A4CE6-C2AE-4DCB-9D4C-610E4223D900}" srcOrd="0" destOrd="0" parTransId="{20BD7B55-9E7C-497D-AF36-8D8199B61318}" sibTransId="{ADBB4344-9A60-47E7-9707-AF75FCCC77B3}"/>
    <dgm:cxn modelId="{ABA14DB8-CC96-403E-9FEC-540F44B342CF}" type="presOf" srcId="{843968A3-8B12-484E-9494-BF3E077B217C}" destId="{258AD88D-9B8E-4879-948C-B7D09341D613}" srcOrd="0" destOrd="0" presId="urn:microsoft.com/office/officeart/2005/8/layout/hList1"/>
    <dgm:cxn modelId="{6E3F60EA-095D-4FB1-9514-A712BD4F4986}" type="presOf" srcId="{5C3D4D38-ADA1-4E69-972A-5BC69DB4A9C9}" destId="{BFF4519F-FE15-4481-B4DF-8933A5E35461}" srcOrd="0" destOrd="0" presId="urn:microsoft.com/office/officeart/2005/8/layout/hList1"/>
    <dgm:cxn modelId="{F5A5A3EB-16DA-492D-8A14-36DFD3F4540B}" type="presOf" srcId="{1F5A4CE6-C2AE-4DCB-9D4C-610E4223D900}" destId="{54C057E5-A57B-4B4C-9AED-DF046BEBE162}" srcOrd="0" destOrd="0" presId="urn:microsoft.com/office/officeart/2005/8/layout/hList1"/>
    <dgm:cxn modelId="{42CD21F0-EB1D-4D13-A350-5E19CC4B774E}" srcId="{1F5A4CE6-C2AE-4DCB-9D4C-610E4223D900}" destId="{A64E0C81-67FC-48A8-BC16-A69174648A7E}" srcOrd="0" destOrd="0" parTransId="{4DA256CE-0779-45D1-84D8-9FF6702E1C77}" sibTransId="{D1601A54-3DEE-4650-817A-B69F737C20A6}"/>
    <dgm:cxn modelId="{8F6F08F5-1F00-44FE-83E8-6E72E306939F}" type="presOf" srcId="{A64E0C81-67FC-48A8-BC16-A69174648A7E}" destId="{34800888-257C-43FC-8AC8-A3ADCDE5B566}" srcOrd="0" destOrd="0" presId="urn:microsoft.com/office/officeart/2005/8/layout/hList1"/>
    <dgm:cxn modelId="{D45A9374-05AC-4327-9267-F64EF8C9B49A}" type="presParOf" srcId="{0384ADCD-6C13-4552-AA46-876A76597832}" destId="{BA00A819-9B3B-468D-96AD-5F238F005F2C}" srcOrd="0" destOrd="0" presId="urn:microsoft.com/office/officeart/2005/8/layout/hList1"/>
    <dgm:cxn modelId="{8AF386CA-F9AE-46E1-B5A5-6E30808CC165}" type="presParOf" srcId="{BA00A819-9B3B-468D-96AD-5F238F005F2C}" destId="{54C057E5-A57B-4B4C-9AED-DF046BEBE162}" srcOrd="0" destOrd="0" presId="urn:microsoft.com/office/officeart/2005/8/layout/hList1"/>
    <dgm:cxn modelId="{364A5410-4306-4430-B783-A3264EA581D7}" type="presParOf" srcId="{BA00A819-9B3B-468D-96AD-5F238F005F2C}" destId="{34800888-257C-43FC-8AC8-A3ADCDE5B566}" srcOrd="1" destOrd="0" presId="urn:microsoft.com/office/officeart/2005/8/layout/hList1"/>
    <dgm:cxn modelId="{AE60A5F3-9BB2-4BC2-9382-D968FE92B093}" type="presParOf" srcId="{0384ADCD-6C13-4552-AA46-876A76597832}" destId="{25087BE8-69A3-4C72-ADD9-3A2BFF9B9006}" srcOrd="1" destOrd="0" presId="urn:microsoft.com/office/officeart/2005/8/layout/hList1"/>
    <dgm:cxn modelId="{A96BE144-C7EE-4423-BB31-8A23274C23E8}" type="presParOf" srcId="{0384ADCD-6C13-4552-AA46-876A76597832}" destId="{B86CB825-95A5-4471-949E-0B24F500FD3E}" srcOrd="2" destOrd="0" presId="urn:microsoft.com/office/officeart/2005/8/layout/hList1"/>
    <dgm:cxn modelId="{89E7453A-02F8-4FCE-AA29-7CE310DB8C7B}" type="presParOf" srcId="{B86CB825-95A5-4471-949E-0B24F500FD3E}" destId="{BFF4519F-FE15-4481-B4DF-8933A5E35461}" srcOrd="0" destOrd="0" presId="urn:microsoft.com/office/officeart/2005/8/layout/hList1"/>
    <dgm:cxn modelId="{B64A9D3D-B385-4A9A-B6EE-263912D56DC0}" type="presParOf" srcId="{B86CB825-95A5-4471-949E-0B24F500FD3E}" destId="{52CBC5B7-2935-4EC1-8B58-BB75E8DCCF53}" srcOrd="1" destOrd="0" presId="urn:microsoft.com/office/officeart/2005/8/layout/hList1"/>
    <dgm:cxn modelId="{EB087C3E-3DE0-4437-8FDF-89BD114805AE}" type="presParOf" srcId="{0384ADCD-6C13-4552-AA46-876A76597832}" destId="{B0067A9A-3C4C-4A18-8D6F-4F0EEB1CB2BE}" srcOrd="3" destOrd="0" presId="urn:microsoft.com/office/officeart/2005/8/layout/hList1"/>
    <dgm:cxn modelId="{9106C465-7F2B-46E2-B7EB-127B943A7A17}" type="presParOf" srcId="{0384ADCD-6C13-4552-AA46-876A76597832}" destId="{892C6DC4-22BB-4F76-B45E-2D6066CAFDCD}" srcOrd="4" destOrd="0" presId="urn:microsoft.com/office/officeart/2005/8/layout/hList1"/>
    <dgm:cxn modelId="{8182F0D3-FC41-47A6-B1A5-ED46DDC5DF44}" type="presParOf" srcId="{892C6DC4-22BB-4F76-B45E-2D6066CAFDCD}" destId="{258AD88D-9B8E-4879-948C-B7D09341D613}" srcOrd="0" destOrd="0" presId="urn:microsoft.com/office/officeart/2005/8/layout/hList1"/>
    <dgm:cxn modelId="{9AA74178-554F-45F8-BC9D-B818AD634A14}" type="presParOf" srcId="{892C6DC4-22BB-4F76-B45E-2D6066CAFDCD}" destId="{CB7E4EAA-76FC-4171-987E-156995E09162}" srcOrd="1" destOrd="0" presId="urn:microsoft.com/office/officeart/2005/8/layout/hList1"/>
  </dgm:cxnLst>
  <dgm:bg/>
  <dgm:whole>
    <a:ln>
      <a:solidFill>
        <a:schemeClr val="accent6">
          <a:lumMod val="50000"/>
        </a:schemeClr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EB54D82-BBC5-4ED6-90EB-396CB5734DBA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878F70D-39FB-44F5-8553-4661B0292824}">
      <dgm:prSet phldrT="[Текст]" custT="1"/>
      <dgm:spPr>
        <a:solidFill>
          <a:schemeClr val="bg1"/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2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Сложности</a:t>
          </a:r>
        </a:p>
      </dgm:t>
    </dgm:pt>
    <dgm:pt modelId="{527DCF15-7B5F-4208-BFEA-D3BC57958C76}" type="parTrans" cxnId="{363B9DE8-D6F9-41E2-9B5C-7AFEEB6FD583}">
      <dgm:prSet/>
      <dgm:spPr/>
      <dgm:t>
        <a:bodyPr/>
        <a:lstStyle/>
        <a:p>
          <a:endParaRPr lang="ru-RU"/>
        </a:p>
      </dgm:t>
    </dgm:pt>
    <dgm:pt modelId="{19F133C3-6172-4062-9AE2-AF5FCC731934}" type="sibTrans" cxnId="{363B9DE8-D6F9-41E2-9B5C-7AFEEB6FD583}">
      <dgm:prSet/>
      <dgm:spPr/>
      <dgm:t>
        <a:bodyPr/>
        <a:lstStyle/>
        <a:p>
          <a:endParaRPr lang="ru-RU"/>
        </a:p>
      </dgm:t>
    </dgm:pt>
    <dgm:pt modelId="{1C817F21-3D33-40C1-9852-0350EBDCD37C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Длительная «раскачка» участников </a:t>
          </a:r>
          <a:r>
            <a:rPr lang="ru-RU" sz="1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модерации</a:t>
          </a:r>
          <a:endParaRPr lang="ru-RU" sz="10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FBB36D8B-BF2C-4DE1-AF5D-24541B5C47E1}" type="parTrans" cxnId="{ADD1D81F-244A-4F00-B744-DB9EA3AD2939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1F5ED822-13A5-4357-AE69-4E8C161A4C87}" type="sibTrans" cxnId="{ADD1D81F-244A-4F00-B744-DB9EA3AD2939}">
      <dgm:prSet/>
      <dgm:spPr/>
      <dgm:t>
        <a:bodyPr/>
        <a:lstStyle/>
        <a:p>
          <a:endParaRPr lang="ru-RU"/>
        </a:p>
      </dgm:t>
    </dgm:pt>
    <dgm:pt modelId="{1B8621A6-336B-47C7-9C49-1EA289281F4F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едостоверная информация (неполная, несвоевременная)</a:t>
          </a:r>
        </a:p>
      </dgm:t>
    </dgm:pt>
    <dgm:pt modelId="{4A6D02E3-7F5D-4AC4-BE16-BF1C1B5C2329}" type="parTrans" cxnId="{F98BBE45-43CC-4F84-8E6C-B49BB1A82563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A49F02C0-E20D-46F9-AEA8-A4448EBF3D1C}" type="sibTrans" cxnId="{F98BBE45-43CC-4F84-8E6C-B49BB1A82563}">
      <dgm:prSet/>
      <dgm:spPr/>
      <dgm:t>
        <a:bodyPr/>
        <a:lstStyle/>
        <a:p>
          <a:endParaRPr lang="ru-RU"/>
        </a:p>
      </dgm:t>
    </dgm:pt>
    <dgm:pt modelId="{DAD03DCF-8441-4EC0-90D6-85714CB90D40}">
      <dgm:prSet phldrT="[Текст]" custT="1"/>
      <dgm:spPr>
        <a:solidFill>
          <a:schemeClr val="bg1"/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арианты минимизации</a:t>
          </a:r>
        </a:p>
      </dgm:t>
    </dgm:pt>
    <dgm:pt modelId="{B87EA5E0-B53B-4A5F-818E-5D0F528D7993}" type="parTrans" cxnId="{6D9D20DD-A5CE-4C58-8335-7221780BE386}">
      <dgm:prSet/>
      <dgm:spPr/>
      <dgm:t>
        <a:bodyPr/>
        <a:lstStyle/>
        <a:p>
          <a:endParaRPr lang="ru-RU"/>
        </a:p>
      </dgm:t>
    </dgm:pt>
    <dgm:pt modelId="{CC1128CF-0338-48BE-B6E8-2AA525084C49}" type="sibTrans" cxnId="{6D9D20DD-A5CE-4C58-8335-7221780BE386}">
      <dgm:prSet/>
      <dgm:spPr/>
      <dgm:t>
        <a:bodyPr/>
        <a:lstStyle/>
        <a:p>
          <a:endParaRPr lang="ru-RU"/>
        </a:p>
      </dgm:t>
    </dgm:pt>
    <dgm:pt modelId="{F7267BBC-02E2-4279-A905-EFFE3A39B9D3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Актуализация информации через нормативные документы, </a:t>
          </a:r>
          <a:r>
            <a:rPr lang="ru-RU" sz="1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ебинары</a:t>
          </a:r>
          <a:endParaRPr lang="ru-RU" sz="10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98173361-4F2A-481B-B693-07BAE975C8C4}" type="parTrans" cxnId="{DC5D4144-D212-42BA-BE21-AAE70954FE09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9FD63612-7681-44AD-AD07-884D397F8CE7}" type="sibTrans" cxnId="{DC5D4144-D212-42BA-BE21-AAE70954FE09}">
      <dgm:prSet/>
      <dgm:spPr/>
      <dgm:t>
        <a:bodyPr/>
        <a:lstStyle/>
        <a:p>
          <a:endParaRPr lang="ru-RU"/>
        </a:p>
      </dgm:t>
    </dgm:pt>
    <dgm:pt modelId="{FDCE30B9-2F50-4876-AEFD-C1CA1FA51048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ормативно-правовая документация, регламентирующая сроки и объем информации передаваемой модератору</a:t>
          </a:r>
        </a:p>
      </dgm:t>
    </dgm:pt>
    <dgm:pt modelId="{1986B3F5-7BF5-40F8-A787-6B5AE37A6889}" type="parTrans" cxnId="{27DB09A6-4917-462A-8DE0-F121D39B7699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ABDF5C15-4FF6-4D81-9809-2FE5A5C2E0DD}" type="sibTrans" cxnId="{27DB09A6-4917-462A-8DE0-F121D39B7699}">
      <dgm:prSet/>
      <dgm:spPr/>
      <dgm:t>
        <a:bodyPr/>
        <a:lstStyle/>
        <a:p>
          <a:endParaRPr lang="ru-RU"/>
        </a:p>
      </dgm:t>
    </dgm:pt>
    <dgm:pt modelId="{5B7FF874-D4C3-4680-8D7C-0CFE7CEE2412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ерекладывание ответственности за работу и ее результат на  модератора</a:t>
          </a:r>
        </a:p>
      </dgm:t>
    </dgm:pt>
    <dgm:pt modelId="{783FF80A-2CD6-4830-8045-26AD6093A425}" type="parTrans" cxnId="{A58F20E9-400B-4763-8FA3-29D677850818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CFDD5A67-2CCC-4303-8AFD-AA7D6908400E}" type="sibTrans" cxnId="{A58F20E9-400B-4763-8FA3-29D677850818}">
      <dgm:prSet/>
      <dgm:spPr/>
      <dgm:t>
        <a:bodyPr/>
        <a:lstStyle/>
        <a:p>
          <a:endParaRPr lang="ru-RU"/>
        </a:p>
      </dgm:t>
    </dgm:pt>
    <dgm:pt modelId="{2FADD723-1729-4F3B-B2CF-B2E388150E69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Дефицит кадров модератора, оператора модерации (отсутствие муниципальных антикризисных служб)</a:t>
          </a:r>
        </a:p>
      </dgm:t>
    </dgm:pt>
    <dgm:pt modelId="{DC358F5F-705E-4A3F-949C-CC796032F877}" type="parTrans" cxnId="{66A07926-7501-470C-A898-45C85AC5A3B4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75D3C728-FD47-487F-8E15-40050CAA7011}" type="sibTrans" cxnId="{66A07926-7501-470C-A898-45C85AC5A3B4}">
      <dgm:prSet/>
      <dgm:spPr/>
      <dgm:t>
        <a:bodyPr/>
        <a:lstStyle/>
        <a:p>
          <a:endParaRPr lang="ru-RU"/>
        </a:p>
      </dgm:t>
    </dgm:pt>
    <dgm:pt modelId="{4CFE4C8C-F5E5-4E1F-B1EA-EE2A82ACB064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Четкое распределение ролей и функций участников модерации  через утверждение Технологии и Порядка модерации, твердая позиция модератора</a:t>
          </a:r>
        </a:p>
      </dgm:t>
    </dgm:pt>
    <dgm:pt modelId="{328015D5-A10E-42DE-974B-268E6DF1740A}" type="parTrans" cxnId="{B980731E-8B6C-4767-9BED-B7F036841150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6DB0B0CA-15AD-43DE-9C0C-ADA1E5C999FC}" type="sibTrans" cxnId="{B980731E-8B6C-4767-9BED-B7F036841150}">
      <dgm:prSet/>
      <dgm:spPr/>
      <dgm:t>
        <a:bodyPr/>
        <a:lstStyle/>
        <a:p>
          <a:endParaRPr lang="ru-RU"/>
        </a:p>
      </dgm:t>
    </dgm:pt>
    <dgm:pt modelId="{063EFA4C-531A-482C-AB25-9C3D09F5558F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Дополнительные ставки; нормативно-правовая документация, регламентирующая деятельность  и состав муниципальных антикризисных служб; внутренняя система взаимоотношений, позволяющая эффективно использовать имеющиеся ресурсы</a:t>
          </a:r>
        </a:p>
      </dgm:t>
    </dgm:pt>
    <dgm:pt modelId="{7AEAF57D-8C51-4AC7-9E71-F47B8C5AC27B}" type="parTrans" cxnId="{374DF855-E45F-4001-B38C-2461455A028B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AD92DA06-72CC-45C3-A911-6136E938722E}" type="sibTrans" cxnId="{374DF855-E45F-4001-B38C-2461455A028B}">
      <dgm:prSet/>
      <dgm:spPr/>
      <dgm:t>
        <a:bodyPr/>
        <a:lstStyle/>
        <a:p>
          <a:endParaRPr lang="ru-RU"/>
        </a:p>
      </dgm:t>
    </dgm:pt>
    <dgm:pt modelId="{D4A7C373-4442-4C76-B543-DB698843D9CB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роблемы с установлением межведомственного контакта</a:t>
          </a:r>
        </a:p>
      </dgm:t>
    </dgm:pt>
    <dgm:pt modelId="{FCE84D22-57CD-4F28-BC9C-168710AE4DA8}" type="parTrans" cxnId="{E35D1B34-B168-41FA-8923-B42E0846218B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3308C5A5-BFCC-445C-A9C7-4DB5F0CE65D3}" type="sibTrans" cxnId="{E35D1B34-B168-41FA-8923-B42E0846218B}">
      <dgm:prSet/>
      <dgm:spPr/>
      <dgm:t>
        <a:bodyPr/>
        <a:lstStyle/>
        <a:p>
          <a:endParaRPr lang="ru-RU"/>
        </a:p>
      </dgm:t>
    </dgm:pt>
    <dgm:pt modelId="{0FA6B196-4645-4308-A8EF-6691B0685AF4}">
      <dgm:prSet phldrT="[Текст]" custT="1"/>
      <dgm:spPr>
        <a:solidFill>
          <a:schemeClr val="bg1">
            <a:alpha val="90000"/>
          </a:schemeClr>
        </a:solidFill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Личные связи, взаимодействие со звеном управления в различных сферах, точечные взаимодействие со специалистами, нормативная документация (локальные документы)</a:t>
          </a:r>
        </a:p>
      </dgm:t>
    </dgm:pt>
    <dgm:pt modelId="{0566F82D-F75E-4B5D-BB6B-4E3A8502330A}" type="parTrans" cxnId="{15686F95-5A1F-496C-94C7-B4A99B487289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FB088207-CBB7-4FAE-884B-81768D7C5BA7}" type="sibTrans" cxnId="{15686F95-5A1F-496C-94C7-B4A99B487289}">
      <dgm:prSet/>
      <dgm:spPr/>
      <dgm:t>
        <a:bodyPr/>
        <a:lstStyle/>
        <a:p>
          <a:endParaRPr lang="ru-RU"/>
        </a:p>
      </dgm:t>
    </dgm:pt>
    <dgm:pt modelId="{300C921E-30C4-47BD-B3BE-2C86FE425F5E}" type="pres">
      <dgm:prSet presAssocID="{CEB54D82-BBC5-4ED6-90EB-396CB5734DBA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8194599-4926-439F-9A07-F5B9F619F743}" type="pres">
      <dgm:prSet presAssocID="{8878F70D-39FB-44F5-8553-4661B0292824}" presName="root" presStyleCnt="0"/>
      <dgm:spPr/>
    </dgm:pt>
    <dgm:pt modelId="{615A99DF-EFE1-4B29-841B-6694207442AF}" type="pres">
      <dgm:prSet presAssocID="{8878F70D-39FB-44F5-8553-4661B0292824}" presName="rootComposite" presStyleCnt="0"/>
      <dgm:spPr/>
    </dgm:pt>
    <dgm:pt modelId="{AD97A865-466C-42AD-9053-4C98DABB233C}" type="pres">
      <dgm:prSet presAssocID="{8878F70D-39FB-44F5-8553-4661B0292824}" presName="rootText" presStyleLbl="node1" presStyleIdx="0" presStyleCnt="2" custScaleX="187318"/>
      <dgm:spPr/>
    </dgm:pt>
    <dgm:pt modelId="{68AA7D9D-58F2-4D09-B676-D334831F9E22}" type="pres">
      <dgm:prSet presAssocID="{8878F70D-39FB-44F5-8553-4661B0292824}" presName="rootConnector" presStyleLbl="node1" presStyleIdx="0" presStyleCnt="2"/>
      <dgm:spPr/>
    </dgm:pt>
    <dgm:pt modelId="{C87747CB-E5DD-4179-9D87-D8021F49001A}" type="pres">
      <dgm:prSet presAssocID="{8878F70D-39FB-44F5-8553-4661B0292824}" presName="childShape" presStyleCnt="0"/>
      <dgm:spPr/>
    </dgm:pt>
    <dgm:pt modelId="{C09672DA-6DA4-4BCF-807A-B71CFBE32A25}" type="pres">
      <dgm:prSet presAssocID="{FBB36D8B-BF2C-4DE1-AF5D-24541B5C47E1}" presName="Name13" presStyleLbl="parChTrans1D2" presStyleIdx="0" presStyleCnt="10"/>
      <dgm:spPr/>
    </dgm:pt>
    <dgm:pt modelId="{0C4E121A-DD1B-4C76-BE5E-D0FF9CA8C0AA}" type="pres">
      <dgm:prSet presAssocID="{1C817F21-3D33-40C1-9852-0350EBDCD37C}" presName="childText" presStyleLbl="bgAcc1" presStyleIdx="0" presStyleCnt="10" custScaleX="187803">
        <dgm:presLayoutVars>
          <dgm:bulletEnabled val="1"/>
        </dgm:presLayoutVars>
      </dgm:prSet>
      <dgm:spPr/>
    </dgm:pt>
    <dgm:pt modelId="{1F16E2CB-F26F-49F4-ADAE-694BAEDA08D9}" type="pres">
      <dgm:prSet presAssocID="{4A6D02E3-7F5D-4AC4-BE16-BF1C1B5C2329}" presName="Name13" presStyleLbl="parChTrans1D2" presStyleIdx="1" presStyleCnt="10"/>
      <dgm:spPr/>
    </dgm:pt>
    <dgm:pt modelId="{BBB9E0BE-2B78-4FF2-AF2A-5F48A8E79A25}" type="pres">
      <dgm:prSet presAssocID="{1B8621A6-336B-47C7-9C49-1EA289281F4F}" presName="childText" presStyleLbl="bgAcc1" presStyleIdx="1" presStyleCnt="10" custScaleX="223043">
        <dgm:presLayoutVars>
          <dgm:bulletEnabled val="1"/>
        </dgm:presLayoutVars>
      </dgm:prSet>
      <dgm:spPr/>
    </dgm:pt>
    <dgm:pt modelId="{6B57632E-B677-4FDF-A397-30BDAC6C885E}" type="pres">
      <dgm:prSet presAssocID="{783FF80A-2CD6-4830-8045-26AD6093A425}" presName="Name13" presStyleLbl="parChTrans1D2" presStyleIdx="2" presStyleCnt="10"/>
      <dgm:spPr/>
    </dgm:pt>
    <dgm:pt modelId="{4C7543F5-738E-47ED-91F3-7042582CB4F5}" type="pres">
      <dgm:prSet presAssocID="{5B7FF874-D4C3-4680-8D7C-0CFE7CEE2412}" presName="childText" presStyleLbl="bgAcc1" presStyleIdx="2" presStyleCnt="10" custScaleX="258591">
        <dgm:presLayoutVars>
          <dgm:bulletEnabled val="1"/>
        </dgm:presLayoutVars>
      </dgm:prSet>
      <dgm:spPr/>
    </dgm:pt>
    <dgm:pt modelId="{7B73CD9E-350E-4489-9E77-2DB981F045DE}" type="pres">
      <dgm:prSet presAssocID="{DC358F5F-705E-4A3F-949C-CC796032F877}" presName="Name13" presStyleLbl="parChTrans1D2" presStyleIdx="3" presStyleCnt="10"/>
      <dgm:spPr/>
    </dgm:pt>
    <dgm:pt modelId="{12E0BA46-32F5-46CC-8767-3E636E096D83}" type="pres">
      <dgm:prSet presAssocID="{2FADD723-1729-4F3B-B2CF-B2E388150E69}" presName="childText" presStyleLbl="bgAcc1" presStyleIdx="3" presStyleCnt="10" custScaleX="310902">
        <dgm:presLayoutVars>
          <dgm:bulletEnabled val="1"/>
        </dgm:presLayoutVars>
      </dgm:prSet>
      <dgm:spPr/>
    </dgm:pt>
    <dgm:pt modelId="{2D4C4F9C-46DE-4501-8F2B-906A3A4441AE}" type="pres">
      <dgm:prSet presAssocID="{FCE84D22-57CD-4F28-BC9C-168710AE4DA8}" presName="Name13" presStyleLbl="parChTrans1D2" presStyleIdx="4" presStyleCnt="10"/>
      <dgm:spPr/>
    </dgm:pt>
    <dgm:pt modelId="{DE022DF1-7D33-4992-A74B-0A3B696C5AD9}" type="pres">
      <dgm:prSet presAssocID="{D4A7C373-4442-4C76-B543-DB698843D9CB}" presName="childText" presStyleLbl="bgAcc1" presStyleIdx="4" presStyleCnt="10" custScaleX="352615">
        <dgm:presLayoutVars>
          <dgm:bulletEnabled val="1"/>
        </dgm:presLayoutVars>
      </dgm:prSet>
      <dgm:spPr/>
    </dgm:pt>
    <dgm:pt modelId="{B9A476E0-697D-45A5-B434-49A4A7D1B770}" type="pres">
      <dgm:prSet presAssocID="{DAD03DCF-8441-4EC0-90D6-85714CB90D40}" presName="root" presStyleCnt="0"/>
      <dgm:spPr/>
    </dgm:pt>
    <dgm:pt modelId="{8091DB50-39C1-4B21-ADD0-50B3DE6AED30}" type="pres">
      <dgm:prSet presAssocID="{DAD03DCF-8441-4EC0-90D6-85714CB90D40}" presName="rootComposite" presStyleCnt="0"/>
      <dgm:spPr/>
    </dgm:pt>
    <dgm:pt modelId="{1D80B982-554E-4508-B0A4-C921AE2D3F63}" type="pres">
      <dgm:prSet presAssocID="{DAD03DCF-8441-4EC0-90D6-85714CB90D40}" presName="rootText" presStyleLbl="node1" presStyleIdx="1" presStyleCnt="2" custScaleX="201931"/>
      <dgm:spPr/>
    </dgm:pt>
    <dgm:pt modelId="{E4434F83-7E14-4C1E-AF3E-216E79105D7B}" type="pres">
      <dgm:prSet presAssocID="{DAD03DCF-8441-4EC0-90D6-85714CB90D40}" presName="rootConnector" presStyleLbl="node1" presStyleIdx="1" presStyleCnt="2"/>
      <dgm:spPr/>
    </dgm:pt>
    <dgm:pt modelId="{A5F21CA8-082C-4769-95FF-B791F1606DF6}" type="pres">
      <dgm:prSet presAssocID="{DAD03DCF-8441-4EC0-90D6-85714CB90D40}" presName="childShape" presStyleCnt="0"/>
      <dgm:spPr/>
    </dgm:pt>
    <dgm:pt modelId="{BE32DE00-5ABF-4475-8A88-5E773F6D02C8}" type="pres">
      <dgm:prSet presAssocID="{98173361-4F2A-481B-B693-07BAE975C8C4}" presName="Name13" presStyleLbl="parChTrans1D2" presStyleIdx="5" presStyleCnt="10"/>
      <dgm:spPr/>
    </dgm:pt>
    <dgm:pt modelId="{D8EDB733-8E89-4633-A6AB-206821278129}" type="pres">
      <dgm:prSet presAssocID="{F7267BBC-02E2-4279-A905-EFFE3A39B9D3}" presName="childText" presStyleLbl="bgAcc1" presStyleIdx="5" presStyleCnt="10" custScaleX="265527">
        <dgm:presLayoutVars>
          <dgm:bulletEnabled val="1"/>
        </dgm:presLayoutVars>
      </dgm:prSet>
      <dgm:spPr/>
    </dgm:pt>
    <dgm:pt modelId="{6A18E458-4329-4B6E-9BFE-4C92EC770B9D}" type="pres">
      <dgm:prSet presAssocID="{1986B3F5-7BF5-40F8-A787-6B5AE37A6889}" presName="Name13" presStyleLbl="parChTrans1D2" presStyleIdx="6" presStyleCnt="10"/>
      <dgm:spPr/>
    </dgm:pt>
    <dgm:pt modelId="{A81D3309-15B7-4CD1-9708-93532CCBDB7F}" type="pres">
      <dgm:prSet presAssocID="{FDCE30B9-2F50-4876-AEFD-C1CA1FA51048}" presName="childText" presStyleLbl="bgAcc1" presStyleIdx="6" presStyleCnt="10" custScaleX="239768">
        <dgm:presLayoutVars>
          <dgm:bulletEnabled val="1"/>
        </dgm:presLayoutVars>
      </dgm:prSet>
      <dgm:spPr/>
    </dgm:pt>
    <dgm:pt modelId="{13A92AF7-CFC2-43FA-A042-ABF9DBB81C48}" type="pres">
      <dgm:prSet presAssocID="{328015D5-A10E-42DE-974B-268E6DF1740A}" presName="Name13" presStyleLbl="parChTrans1D2" presStyleIdx="7" presStyleCnt="10"/>
      <dgm:spPr/>
    </dgm:pt>
    <dgm:pt modelId="{61420F51-FF50-443F-9B9A-7D99E3C5A52E}" type="pres">
      <dgm:prSet presAssocID="{4CFE4C8C-F5E5-4E1F-B1EA-EE2A82ACB064}" presName="childText" presStyleLbl="bgAcc1" presStyleIdx="7" presStyleCnt="10" custScaleX="345152" custLinFactNeighborX="-1758" custLinFactNeighborY="-2304">
        <dgm:presLayoutVars>
          <dgm:bulletEnabled val="1"/>
        </dgm:presLayoutVars>
      </dgm:prSet>
      <dgm:spPr/>
    </dgm:pt>
    <dgm:pt modelId="{A2F4F6BE-A2E1-49CF-B3A9-71AD233658A9}" type="pres">
      <dgm:prSet presAssocID="{7AEAF57D-8C51-4AC7-9E71-F47B8C5AC27B}" presName="Name13" presStyleLbl="parChTrans1D2" presStyleIdx="8" presStyleCnt="10"/>
      <dgm:spPr/>
    </dgm:pt>
    <dgm:pt modelId="{3A482650-CAC6-423C-96D2-3573576A7B45}" type="pres">
      <dgm:prSet presAssocID="{063EFA4C-531A-482C-AB25-9C3D09F5558F}" presName="childText" presStyleLbl="bgAcc1" presStyleIdx="8" presStyleCnt="10" custScaleX="481079" custLinFactNeighborX="3199" custLinFactNeighborY="-409">
        <dgm:presLayoutVars>
          <dgm:bulletEnabled val="1"/>
        </dgm:presLayoutVars>
      </dgm:prSet>
      <dgm:spPr/>
    </dgm:pt>
    <dgm:pt modelId="{68107CF6-F934-46E0-9E0C-892DBBB7E282}" type="pres">
      <dgm:prSet presAssocID="{0566F82D-F75E-4B5D-BB6B-4E3A8502330A}" presName="Name13" presStyleLbl="parChTrans1D2" presStyleIdx="9" presStyleCnt="10"/>
      <dgm:spPr/>
    </dgm:pt>
    <dgm:pt modelId="{387CB3E5-96DA-46FC-B58E-589F0FAC5C2E}" type="pres">
      <dgm:prSet presAssocID="{0FA6B196-4645-4308-A8EF-6691B0685AF4}" presName="childText" presStyleLbl="bgAcc1" presStyleIdx="9" presStyleCnt="10" custScaleX="326113" custScaleY="124522">
        <dgm:presLayoutVars>
          <dgm:bulletEnabled val="1"/>
        </dgm:presLayoutVars>
      </dgm:prSet>
      <dgm:spPr/>
    </dgm:pt>
  </dgm:ptLst>
  <dgm:cxnLst>
    <dgm:cxn modelId="{C005080A-4694-475C-A772-EAB418D113A9}" type="presOf" srcId="{8878F70D-39FB-44F5-8553-4661B0292824}" destId="{AD97A865-466C-42AD-9053-4C98DABB233C}" srcOrd="0" destOrd="0" presId="urn:microsoft.com/office/officeart/2005/8/layout/hierarchy3"/>
    <dgm:cxn modelId="{7566750E-69F8-4580-AC80-C31376F1F522}" type="presOf" srcId="{DAD03DCF-8441-4EC0-90D6-85714CB90D40}" destId="{E4434F83-7E14-4C1E-AF3E-216E79105D7B}" srcOrd="1" destOrd="0" presId="urn:microsoft.com/office/officeart/2005/8/layout/hierarchy3"/>
    <dgm:cxn modelId="{B980731E-8B6C-4767-9BED-B7F036841150}" srcId="{DAD03DCF-8441-4EC0-90D6-85714CB90D40}" destId="{4CFE4C8C-F5E5-4E1F-B1EA-EE2A82ACB064}" srcOrd="2" destOrd="0" parTransId="{328015D5-A10E-42DE-974B-268E6DF1740A}" sibTransId="{6DB0B0CA-15AD-43DE-9C0C-ADA1E5C999FC}"/>
    <dgm:cxn modelId="{ADD1D81F-244A-4F00-B744-DB9EA3AD2939}" srcId="{8878F70D-39FB-44F5-8553-4661B0292824}" destId="{1C817F21-3D33-40C1-9852-0350EBDCD37C}" srcOrd="0" destOrd="0" parTransId="{FBB36D8B-BF2C-4DE1-AF5D-24541B5C47E1}" sibTransId="{1F5ED822-13A5-4357-AE69-4E8C161A4C87}"/>
    <dgm:cxn modelId="{2CD8F325-B493-418C-9C73-A9A8CCC6F161}" type="presOf" srcId="{0566F82D-F75E-4B5D-BB6B-4E3A8502330A}" destId="{68107CF6-F934-46E0-9E0C-892DBBB7E282}" srcOrd="0" destOrd="0" presId="urn:microsoft.com/office/officeart/2005/8/layout/hierarchy3"/>
    <dgm:cxn modelId="{66A07926-7501-470C-A898-45C85AC5A3B4}" srcId="{8878F70D-39FB-44F5-8553-4661B0292824}" destId="{2FADD723-1729-4F3B-B2CF-B2E388150E69}" srcOrd="3" destOrd="0" parTransId="{DC358F5F-705E-4A3F-949C-CC796032F877}" sibTransId="{75D3C728-FD47-487F-8E15-40050CAA7011}"/>
    <dgm:cxn modelId="{28E3252A-056C-469B-8ACA-0BA817444036}" type="presOf" srcId="{FBB36D8B-BF2C-4DE1-AF5D-24541B5C47E1}" destId="{C09672DA-6DA4-4BCF-807A-B71CFBE32A25}" srcOrd="0" destOrd="0" presId="urn:microsoft.com/office/officeart/2005/8/layout/hierarchy3"/>
    <dgm:cxn modelId="{385E3930-05BF-43B9-B25E-8FFF62D15C08}" type="presOf" srcId="{DC358F5F-705E-4A3F-949C-CC796032F877}" destId="{7B73CD9E-350E-4489-9E77-2DB981F045DE}" srcOrd="0" destOrd="0" presId="urn:microsoft.com/office/officeart/2005/8/layout/hierarchy3"/>
    <dgm:cxn modelId="{FB0BBD32-C50C-49CA-9CE2-88971C35CCD1}" type="presOf" srcId="{98173361-4F2A-481B-B693-07BAE975C8C4}" destId="{BE32DE00-5ABF-4475-8A88-5E773F6D02C8}" srcOrd="0" destOrd="0" presId="urn:microsoft.com/office/officeart/2005/8/layout/hierarchy3"/>
    <dgm:cxn modelId="{E35D1B34-B168-41FA-8923-B42E0846218B}" srcId="{8878F70D-39FB-44F5-8553-4661B0292824}" destId="{D4A7C373-4442-4C76-B543-DB698843D9CB}" srcOrd="4" destOrd="0" parTransId="{FCE84D22-57CD-4F28-BC9C-168710AE4DA8}" sibTransId="{3308C5A5-BFCC-445C-A9C7-4DB5F0CE65D3}"/>
    <dgm:cxn modelId="{0A41713D-080E-44A3-9D3A-1B0AAE1E0318}" type="presOf" srcId="{F7267BBC-02E2-4279-A905-EFFE3A39B9D3}" destId="{D8EDB733-8E89-4633-A6AB-206821278129}" srcOrd="0" destOrd="0" presId="urn:microsoft.com/office/officeart/2005/8/layout/hierarchy3"/>
    <dgm:cxn modelId="{EA5A7962-28B7-4BB1-949F-ECCC2B3A51D9}" type="presOf" srcId="{1C817F21-3D33-40C1-9852-0350EBDCD37C}" destId="{0C4E121A-DD1B-4C76-BE5E-D0FF9CA8C0AA}" srcOrd="0" destOrd="0" presId="urn:microsoft.com/office/officeart/2005/8/layout/hierarchy3"/>
    <dgm:cxn modelId="{DC5D4144-D212-42BA-BE21-AAE70954FE09}" srcId="{DAD03DCF-8441-4EC0-90D6-85714CB90D40}" destId="{F7267BBC-02E2-4279-A905-EFFE3A39B9D3}" srcOrd="0" destOrd="0" parTransId="{98173361-4F2A-481B-B693-07BAE975C8C4}" sibTransId="{9FD63612-7681-44AD-AD07-884D397F8CE7}"/>
    <dgm:cxn modelId="{F98BBE45-43CC-4F84-8E6C-B49BB1A82563}" srcId="{8878F70D-39FB-44F5-8553-4661B0292824}" destId="{1B8621A6-336B-47C7-9C49-1EA289281F4F}" srcOrd="1" destOrd="0" parTransId="{4A6D02E3-7F5D-4AC4-BE16-BF1C1B5C2329}" sibTransId="{A49F02C0-E20D-46F9-AEA8-A4448EBF3D1C}"/>
    <dgm:cxn modelId="{8E4D2E6A-3E89-44F4-887A-96AA4B4B6B44}" type="presOf" srcId="{0FA6B196-4645-4308-A8EF-6691B0685AF4}" destId="{387CB3E5-96DA-46FC-B58E-589F0FAC5C2E}" srcOrd="0" destOrd="0" presId="urn:microsoft.com/office/officeart/2005/8/layout/hierarchy3"/>
    <dgm:cxn modelId="{EA0A9270-9CDC-41FB-8426-F9051644398D}" type="presOf" srcId="{783FF80A-2CD6-4830-8045-26AD6093A425}" destId="{6B57632E-B677-4FDF-A397-30BDAC6C885E}" srcOrd="0" destOrd="0" presId="urn:microsoft.com/office/officeart/2005/8/layout/hierarchy3"/>
    <dgm:cxn modelId="{374DF855-E45F-4001-B38C-2461455A028B}" srcId="{DAD03DCF-8441-4EC0-90D6-85714CB90D40}" destId="{063EFA4C-531A-482C-AB25-9C3D09F5558F}" srcOrd="3" destOrd="0" parTransId="{7AEAF57D-8C51-4AC7-9E71-F47B8C5AC27B}" sibTransId="{AD92DA06-72CC-45C3-A911-6136E938722E}"/>
    <dgm:cxn modelId="{29FD4C83-E1A1-4AAE-B6A2-F659D40F512F}" type="presOf" srcId="{FDCE30B9-2F50-4876-AEFD-C1CA1FA51048}" destId="{A81D3309-15B7-4CD1-9708-93532CCBDB7F}" srcOrd="0" destOrd="0" presId="urn:microsoft.com/office/officeart/2005/8/layout/hierarchy3"/>
    <dgm:cxn modelId="{15686F95-5A1F-496C-94C7-B4A99B487289}" srcId="{DAD03DCF-8441-4EC0-90D6-85714CB90D40}" destId="{0FA6B196-4645-4308-A8EF-6691B0685AF4}" srcOrd="4" destOrd="0" parTransId="{0566F82D-F75E-4B5D-BB6B-4E3A8502330A}" sibTransId="{FB088207-CBB7-4FAE-884B-81768D7C5BA7}"/>
    <dgm:cxn modelId="{809A1F9A-81B1-48B8-AC35-B6B0A674A9DB}" type="presOf" srcId="{D4A7C373-4442-4C76-B543-DB698843D9CB}" destId="{DE022DF1-7D33-4992-A74B-0A3B696C5AD9}" srcOrd="0" destOrd="0" presId="urn:microsoft.com/office/officeart/2005/8/layout/hierarchy3"/>
    <dgm:cxn modelId="{E27F6B9B-D160-411D-AB48-0B74EBA2253B}" type="presOf" srcId="{DAD03DCF-8441-4EC0-90D6-85714CB90D40}" destId="{1D80B982-554E-4508-B0A4-C921AE2D3F63}" srcOrd="0" destOrd="0" presId="urn:microsoft.com/office/officeart/2005/8/layout/hierarchy3"/>
    <dgm:cxn modelId="{C842A29B-4578-4470-9C8A-2E39632D5B35}" type="presOf" srcId="{2FADD723-1729-4F3B-B2CF-B2E388150E69}" destId="{12E0BA46-32F5-46CC-8767-3E636E096D83}" srcOrd="0" destOrd="0" presId="urn:microsoft.com/office/officeart/2005/8/layout/hierarchy3"/>
    <dgm:cxn modelId="{27DB09A6-4917-462A-8DE0-F121D39B7699}" srcId="{DAD03DCF-8441-4EC0-90D6-85714CB90D40}" destId="{FDCE30B9-2F50-4876-AEFD-C1CA1FA51048}" srcOrd="1" destOrd="0" parTransId="{1986B3F5-7BF5-40F8-A787-6B5AE37A6889}" sibTransId="{ABDF5C15-4FF6-4D81-9809-2FE5A5C2E0DD}"/>
    <dgm:cxn modelId="{01424CB0-6998-435C-A352-C6984EE32790}" type="presOf" srcId="{4A6D02E3-7F5D-4AC4-BE16-BF1C1B5C2329}" destId="{1F16E2CB-F26F-49F4-ADAE-694BAEDA08D9}" srcOrd="0" destOrd="0" presId="urn:microsoft.com/office/officeart/2005/8/layout/hierarchy3"/>
    <dgm:cxn modelId="{90C435B7-31FB-488A-9A00-216DF60611E9}" type="presOf" srcId="{7AEAF57D-8C51-4AC7-9E71-F47B8C5AC27B}" destId="{A2F4F6BE-A2E1-49CF-B3A9-71AD233658A9}" srcOrd="0" destOrd="0" presId="urn:microsoft.com/office/officeart/2005/8/layout/hierarchy3"/>
    <dgm:cxn modelId="{098544C4-AFE0-4EC4-853B-D81EFBA0933D}" type="presOf" srcId="{8878F70D-39FB-44F5-8553-4661B0292824}" destId="{68AA7D9D-58F2-4D09-B676-D334831F9E22}" srcOrd="1" destOrd="0" presId="urn:microsoft.com/office/officeart/2005/8/layout/hierarchy3"/>
    <dgm:cxn modelId="{AD44A4C4-901D-41C3-86FE-93CAD77F3C6A}" type="presOf" srcId="{1986B3F5-7BF5-40F8-A787-6B5AE37A6889}" destId="{6A18E458-4329-4B6E-9BFE-4C92EC770B9D}" srcOrd="0" destOrd="0" presId="urn:microsoft.com/office/officeart/2005/8/layout/hierarchy3"/>
    <dgm:cxn modelId="{9FB644D7-2093-4F30-9623-90B10DFA2926}" type="presOf" srcId="{CEB54D82-BBC5-4ED6-90EB-396CB5734DBA}" destId="{300C921E-30C4-47BD-B3BE-2C86FE425F5E}" srcOrd="0" destOrd="0" presId="urn:microsoft.com/office/officeart/2005/8/layout/hierarchy3"/>
    <dgm:cxn modelId="{6D9D20DD-A5CE-4C58-8335-7221780BE386}" srcId="{CEB54D82-BBC5-4ED6-90EB-396CB5734DBA}" destId="{DAD03DCF-8441-4EC0-90D6-85714CB90D40}" srcOrd="1" destOrd="0" parTransId="{B87EA5E0-B53B-4A5F-818E-5D0F528D7993}" sibTransId="{CC1128CF-0338-48BE-B6E8-2AA525084C49}"/>
    <dgm:cxn modelId="{F6C1C3E0-F1B0-4B33-B7E1-4BCF43C585AF}" type="presOf" srcId="{328015D5-A10E-42DE-974B-268E6DF1740A}" destId="{13A92AF7-CFC2-43FA-A042-ABF9DBB81C48}" srcOrd="0" destOrd="0" presId="urn:microsoft.com/office/officeart/2005/8/layout/hierarchy3"/>
    <dgm:cxn modelId="{363B9DE8-D6F9-41E2-9B5C-7AFEEB6FD583}" srcId="{CEB54D82-BBC5-4ED6-90EB-396CB5734DBA}" destId="{8878F70D-39FB-44F5-8553-4661B0292824}" srcOrd="0" destOrd="0" parTransId="{527DCF15-7B5F-4208-BFEA-D3BC57958C76}" sibTransId="{19F133C3-6172-4062-9AE2-AF5FCC731934}"/>
    <dgm:cxn modelId="{5D0719E9-8A25-49B5-8725-F103695FBA1E}" type="presOf" srcId="{FCE84D22-57CD-4F28-BC9C-168710AE4DA8}" destId="{2D4C4F9C-46DE-4501-8F2B-906A3A4441AE}" srcOrd="0" destOrd="0" presId="urn:microsoft.com/office/officeart/2005/8/layout/hierarchy3"/>
    <dgm:cxn modelId="{A58F20E9-400B-4763-8FA3-29D677850818}" srcId="{8878F70D-39FB-44F5-8553-4661B0292824}" destId="{5B7FF874-D4C3-4680-8D7C-0CFE7CEE2412}" srcOrd="2" destOrd="0" parTransId="{783FF80A-2CD6-4830-8045-26AD6093A425}" sibTransId="{CFDD5A67-2CCC-4303-8AFD-AA7D6908400E}"/>
    <dgm:cxn modelId="{FDF463EC-F15C-42B1-A2A3-C0C89DAF2AEE}" type="presOf" srcId="{5B7FF874-D4C3-4680-8D7C-0CFE7CEE2412}" destId="{4C7543F5-738E-47ED-91F3-7042582CB4F5}" srcOrd="0" destOrd="0" presId="urn:microsoft.com/office/officeart/2005/8/layout/hierarchy3"/>
    <dgm:cxn modelId="{75396AF2-FA95-46FD-B971-07BA8F9DB22F}" type="presOf" srcId="{063EFA4C-531A-482C-AB25-9C3D09F5558F}" destId="{3A482650-CAC6-423C-96D2-3573576A7B45}" srcOrd="0" destOrd="0" presId="urn:microsoft.com/office/officeart/2005/8/layout/hierarchy3"/>
    <dgm:cxn modelId="{64A2E9F8-47C1-41AB-B8ED-6DD52D0BDDD1}" type="presOf" srcId="{1B8621A6-336B-47C7-9C49-1EA289281F4F}" destId="{BBB9E0BE-2B78-4FF2-AF2A-5F48A8E79A25}" srcOrd="0" destOrd="0" presId="urn:microsoft.com/office/officeart/2005/8/layout/hierarchy3"/>
    <dgm:cxn modelId="{8AE52AFB-E207-4665-B962-3C8645EEA105}" type="presOf" srcId="{4CFE4C8C-F5E5-4E1F-B1EA-EE2A82ACB064}" destId="{61420F51-FF50-443F-9B9A-7D99E3C5A52E}" srcOrd="0" destOrd="0" presId="urn:microsoft.com/office/officeart/2005/8/layout/hierarchy3"/>
    <dgm:cxn modelId="{81011C2F-A019-4C4B-B80D-8E2584534DAA}" type="presParOf" srcId="{300C921E-30C4-47BD-B3BE-2C86FE425F5E}" destId="{B8194599-4926-439F-9A07-F5B9F619F743}" srcOrd="0" destOrd="0" presId="urn:microsoft.com/office/officeart/2005/8/layout/hierarchy3"/>
    <dgm:cxn modelId="{2202EFCF-C858-4CE1-BB91-B572C7A7D31C}" type="presParOf" srcId="{B8194599-4926-439F-9A07-F5B9F619F743}" destId="{615A99DF-EFE1-4B29-841B-6694207442AF}" srcOrd="0" destOrd="0" presId="urn:microsoft.com/office/officeart/2005/8/layout/hierarchy3"/>
    <dgm:cxn modelId="{E401D1B9-A3E2-4BEC-B6C4-5E2F55598B7C}" type="presParOf" srcId="{615A99DF-EFE1-4B29-841B-6694207442AF}" destId="{AD97A865-466C-42AD-9053-4C98DABB233C}" srcOrd="0" destOrd="0" presId="urn:microsoft.com/office/officeart/2005/8/layout/hierarchy3"/>
    <dgm:cxn modelId="{A70B89D6-4F2D-48B0-B5A3-7A9E8C6C125F}" type="presParOf" srcId="{615A99DF-EFE1-4B29-841B-6694207442AF}" destId="{68AA7D9D-58F2-4D09-B676-D334831F9E22}" srcOrd="1" destOrd="0" presId="urn:microsoft.com/office/officeart/2005/8/layout/hierarchy3"/>
    <dgm:cxn modelId="{EA9E1FA7-4E31-4307-BC01-23CD8EF68C4B}" type="presParOf" srcId="{B8194599-4926-439F-9A07-F5B9F619F743}" destId="{C87747CB-E5DD-4179-9D87-D8021F49001A}" srcOrd="1" destOrd="0" presId="urn:microsoft.com/office/officeart/2005/8/layout/hierarchy3"/>
    <dgm:cxn modelId="{1BCF750F-C1BB-4D4E-A439-47B58C21B933}" type="presParOf" srcId="{C87747CB-E5DD-4179-9D87-D8021F49001A}" destId="{C09672DA-6DA4-4BCF-807A-B71CFBE32A25}" srcOrd="0" destOrd="0" presId="urn:microsoft.com/office/officeart/2005/8/layout/hierarchy3"/>
    <dgm:cxn modelId="{A1F6926B-A448-4E41-B475-B537A48168B7}" type="presParOf" srcId="{C87747CB-E5DD-4179-9D87-D8021F49001A}" destId="{0C4E121A-DD1B-4C76-BE5E-D0FF9CA8C0AA}" srcOrd="1" destOrd="0" presId="urn:microsoft.com/office/officeart/2005/8/layout/hierarchy3"/>
    <dgm:cxn modelId="{07F7E805-7564-4832-A612-5F5359BEEDB9}" type="presParOf" srcId="{C87747CB-E5DD-4179-9D87-D8021F49001A}" destId="{1F16E2CB-F26F-49F4-ADAE-694BAEDA08D9}" srcOrd="2" destOrd="0" presId="urn:microsoft.com/office/officeart/2005/8/layout/hierarchy3"/>
    <dgm:cxn modelId="{4059319E-441D-4620-A18B-BE7D8EC593A7}" type="presParOf" srcId="{C87747CB-E5DD-4179-9D87-D8021F49001A}" destId="{BBB9E0BE-2B78-4FF2-AF2A-5F48A8E79A25}" srcOrd="3" destOrd="0" presId="urn:microsoft.com/office/officeart/2005/8/layout/hierarchy3"/>
    <dgm:cxn modelId="{559503A8-110D-4AC1-B2B5-48E4955B2D98}" type="presParOf" srcId="{C87747CB-E5DD-4179-9D87-D8021F49001A}" destId="{6B57632E-B677-4FDF-A397-30BDAC6C885E}" srcOrd="4" destOrd="0" presId="urn:microsoft.com/office/officeart/2005/8/layout/hierarchy3"/>
    <dgm:cxn modelId="{1AE78193-25EE-4D89-A4FA-3F7DC09E759E}" type="presParOf" srcId="{C87747CB-E5DD-4179-9D87-D8021F49001A}" destId="{4C7543F5-738E-47ED-91F3-7042582CB4F5}" srcOrd="5" destOrd="0" presId="urn:microsoft.com/office/officeart/2005/8/layout/hierarchy3"/>
    <dgm:cxn modelId="{B28D6E5B-8015-4EFE-9844-D8B6CF48CAFC}" type="presParOf" srcId="{C87747CB-E5DD-4179-9D87-D8021F49001A}" destId="{7B73CD9E-350E-4489-9E77-2DB981F045DE}" srcOrd="6" destOrd="0" presId="urn:microsoft.com/office/officeart/2005/8/layout/hierarchy3"/>
    <dgm:cxn modelId="{246A80BA-8443-4FB3-B5EF-7FBAC9435880}" type="presParOf" srcId="{C87747CB-E5DD-4179-9D87-D8021F49001A}" destId="{12E0BA46-32F5-46CC-8767-3E636E096D83}" srcOrd="7" destOrd="0" presId="urn:microsoft.com/office/officeart/2005/8/layout/hierarchy3"/>
    <dgm:cxn modelId="{CADFA17E-4EB0-4F2C-A013-4DB45E1047CE}" type="presParOf" srcId="{C87747CB-E5DD-4179-9D87-D8021F49001A}" destId="{2D4C4F9C-46DE-4501-8F2B-906A3A4441AE}" srcOrd="8" destOrd="0" presId="urn:microsoft.com/office/officeart/2005/8/layout/hierarchy3"/>
    <dgm:cxn modelId="{FBE14F86-20CA-4A2B-A340-47CAB5495E85}" type="presParOf" srcId="{C87747CB-E5DD-4179-9D87-D8021F49001A}" destId="{DE022DF1-7D33-4992-A74B-0A3B696C5AD9}" srcOrd="9" destOrd="0" presId="urn:microsoft.com/office/officeart/2005/8/layout/hierarchy3"/>
    <dgm:cxn modelId="{774FB079-987B-44F0-9DC2-90EE4739066F}" type="presParOf" srcId="{300C921E-30C4-47BD-B3BE-2C86FE425F5E}" destId="{B9A476E0-697D-45A5-B434-49A4A7D1B770}" srcOrd="1" destOrd="0" presId="urn:microsoft.com/office/officeart/2005/8/layout/hierarchy3"/>
    <dgm:cxn modelId="{9DB9A888-6849-40F2-92C3-72A8B617CAE6}" type="presParOf" srcId="{B9A476E0-697D-45A5-B434-49A4A7D1B770}" destId="{8091DB50-39C1-4B21-ADD0-50B3DE6AED30}" srcOrd="0" destOrd="0" presId="urn:microsoft.com/office/officeart/2005/8/layout/hierarchy3"/>
    <dgm:cxn modelId="{6EFFF52E-DE9E-4B7B-B2C9-BBC6DE7CC4DC}" type="presParOf" srcId="{8091DB50-39C1-4B21-ADD0-50B3DE6AED30}" destId="{1D80B982-554E-4508-B0A4-C921AE2D3F63}" srcOrd="0" destOrd="0" presId="urn:microsoft.com/office/officeart/2005/8/layout/hierarchy3"/>
    <dgm:cxn modelId="{064F6BB3-5349-487A-99C7-066C30844B81}" type="presParOf" srcId="{8091DB50-39C1-4B21-ADD0-50B3DE6AED30}" destId="{E4434F83-7E14-4C1E-AF3E-216E79105D7B}" srcOrd="1" destOrd="0" presId="urn:microsoft.com/office/officeart/2005/8/layout/hierarchy3"/>
    <dgm:cxn modelId="{2AFB6DDD-BD7E-4EA6-886A-A37F3D18F8B8}" type="presParOf" srcId="{B9A476E0-697D-45A5-B434-49A4A7D1B770}" destId="{A5F21CA8-082C-4769-95FF-B791F1606DF6}" srcOrd="1" destOrd="0" presId="urn:microsoft.com/office/officeart/2005/8/layout/hierarchy3"/>
    <dgm:cxn modelId="{A935A903-E3B1-4C1E-95E9-60F24AC9205B}" type="presParOf" srcId="{A5F21CA8-082C-4769-95FF-B791F1606DF6}" destId="{BE32DE00-5ABF-4475-8A88-5E773F6D02C8}" srcOrd="0" destOrd="0" presId="urn:microsoft.com/office/officeart/2005/8/layout/hierarchy3"/>
    <dgm:cxn modelId="{0AC627F7-1E27-4946-BB22-5BB651F1296A}" type="presParOf" srcId="{A5F21CA8-082C-4769-95FF-B791F1606DF6}" destId="{D8EDB733-8E89-4633-A6AB-206821278129}" srcOrd="1" destOrd="0" presId="urn:microsoft.com/office/officeart/2005/8/layout/hierarchy3"/>
    <dgm:cxn modelId="{9B55C150-AEB8-4ECE-92F5-5594F07122C5}" type="presParOf" srcId="{A5F21CA8-082C-4769-95FF-B791F1606DF6}" destId="{6A18E458-4329-4B6E-9BFE-4C92EC770B9D}" srcOrd="2" destOrd="0" presId="urn:microsoft.com/office/officeart/2005/8/layout/hierarchy3"/>
    <dgm:cxn modelId="{04F3B05D-84C0-42C7-AECD-8222F64DAEF1}" type="presParOf" srcId="{A5F21CA8-082C-4769-95FF-B791F1606DF6}" destId="{A81D3309-15B7-4CD1-9708-93532CCBDB7F}" srcOrd="3" destOrd="0" presId="urn:microsoft.com/office/officeart/2005/8/layout/hierarchy3"/>
    <dgm:cxn modelId="{858572A2-F338-43AA-8D3A-189339AAEA7A}" type="presParOf" srcId="{A5F21CA8-082C-4769-95FF-B791F1606DF6}" destId="{13A92AF7-CFC2-43FA-A042-ABF9DBB81C48}" srcOrd="4" destOrd="0" presId="urn:microsoft.com/office/officeart/2005/8/layout/hierarchy3"/>
    <dgm:cxn modelId="{A6ED0D1D-5FFF-4DFB-BFA5-6576892AB222}" type="presParOf" srcId="{A5F21CA8-082C-4769-95FF-B791F1606DF6}" destId="{61420F51-FF50-443F-9B9A-7D99E3C5A52E}" srcOrd="5" destOrd="0" presId="urn:microsoft.com/office/officeart/2005/8/layout/hierarchy3"/>
    <dgm:cxn modelId="{2795B70B-F9A7-45DB-A4B8-A03C881F0DE9}" type="presParOf" srcId="{A5F21CA8-082C-4769-95FF-B791F1606DF6}" destId="{A2F4F6BE-A2E1-49CF-B3A9-71AD233658A9}" srcOrd="6" destOrd="0" presId="urn:microsoft.com/office/officeart/2005/8/layout/hierarchy3"/>
    <dgm:cxn modelId="{68B07691-1444-443A-A9AF-E8EF74F03E67}" type="presParOf" srcId="{A5F21CA8-082C-4769-95FF-B791F1606DF6}" destId="{3A482650-CAC6-423C-96D2-3573576A7B45}" srcOrd="7" destOrd="0" presId="urn:microsoft.com/office/officeart/2005/8/layout/hierarchy3"/>
    <dgm:cxn modelId="{90154865-4F62-4ED8-B025-CDE7B03F8E93}" type="presParOf" srcId="{A5F21CA8-082C-4769-95FF-B791F1606DF6}" destId="{68107CF6-F934-46E0-9E0C-892DBBB7E282}" srcOrd="8" destOrd="0" presId="urn:microsoft.com/office/officeart/2005/8/layout/hierarchy3"/>
    <dgm:cxn modelId="{AA8580A1-8084-4D41-952A-DA025C0C4DDB}" type="presParOf" srcId="{A5F21CA8-082C-4769-95FF-B791F1606DF6}" destId="{387CB3E5-96DA-46FC-B58E-589F0FAC5C2E}" srcOrd="9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BFEE9AB-3874-43F1-93A2-883585BD996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5871306-48CD-4C2B-AEF8-4910BAD56D3C}">
      <dgm:prSet phldrT="[Текст]" custT="1"/>
      <dgm:spPr>
        <a:noFill/>
        <a:ln w="44450">
          <a:solidFill>
            <a:schemeClr val="accent6">
              <a:lumMod val="50000"/>
            </a:schemeClr>
          </a:solidFill>
        </a:ln>
      </dgm:spPr>
      <dgm:t>
        <a:bodyPr/>
        <a:lstStyle/>
        <a:p>
          <a:pPr algn="ctr"/>
          <a:r>
            <a:rPr lang="ru-RU" sz="2000" b="1" dirty="0">
              <a:latin typeface="Times New Roman" pitchFamily="18" charset="0"/>
              <a:cs typeface="Times New Roman" pitchFamily="18" charset="0"/>
            </a:rPr>
            <a:t>Телефон:</a:t>
          </a:r>
          <a:br>
            <a:rPr lang="ru-RU" sz="2000" b="1" dirty="0">
              <a:latin typeface="Times New Roman" pitchFamily="18" charset="0"/>
              <a:cs typeface="Times New Roman" pitchFamily="18" charset="0"/>
            </a:rPr>
          </a:br>
          <a:r>
            <a:rPr lang="ru-RU" sz="2000" b="1" dirty="0">
              <a:latin typeface="Times New Roman" pitchFamily="18" charset="0"/>
              <a:cs typeface="Times New Roman" pitchFamily="18" charset="0"/>
            </a:rPr>
            <a:t>89144389050, 89143695080</a:t>
          </a:r>
          <a:endParaRPr lang="ru-RU" sz="2000" dirty="0"/>
        </a:p>
      </dgm:t>
    </dgm:pt>
    <dgm:pt modelId="{D9427241-C0F2-470D-8CDB-595F1C9066F6}" type="parTrans" cxnId="{E67C883D-BDC0-455D-BB25-0564981BF0F6}">
      <dgm:prSet/>
      <dgm:spPr/>
      <dgm:t>
        <a:bodyPr/>
        <a:lstStyle/>
        <a:p>
          <a:endParaRPr lang="ru-RU"/>
        </a:p>
      </dgm:t>
    </dgm:pt>
    <dgm:pt modelId="{F788C5A9-A1EF-4EFB-9D82-6CE649EB4F58}" type="sibTrans" cxnId="{E67C883D-BDC0-455D-BB25-0564981BF0F6}">
      <dgm:prSet/>
      <dgm:spPr/>
      <dgm:t>
        <a:bodyPr/>
        <a:lstStyle/>
        <a:p>
          <a:endParaRPr lang="ru-RU"/>
        </a:p>
      </dgm:t>
    </dgm:pt>
    <dgm:pt modelId="{3DE68280-41B4-46B2-B667-D4EED1097401}">
      <dgm:prSet phldrT="[Текст]"/>
      <dgm:spPr>
        <a:noFill/>
        <a:ln w="44450">
          <a:solidFill>
            <a:schemeClr val="accent6">
              <a:lumMod val="50000"/>
            </a:schemeClr>
          </a:solidFill>
        </a:ln>
      </dgm:spPr>
      <dgm:t>
        <a:bodyPr/>
        <a:lstStyle/>
        <a:p>
          <a:pPr algn="ctr"/>
          <a:r>
            <a:rPr lang="ru-RU" b="1" dirty="0">
              <a:latin typeface="Times New Roman" pitchFamily="18" charset="0"/>
              <a:cs typeface="Times New Roman" pitchFamily="18" charset="0"/>
            </a:rPr>
            <a:t>Наш адрес:</a:t>
          </a:r>
          <a:br>
            <a:rPr lang="ru-RU" b="1" dirty="0">
              <a:latin typeface="Times New Roman" pitchFamily="18" charset="0"/>
              <a:cs typeface="Times New Roman" pitchFamily="18" charset="0"/>
            </a:rPr>
          </a:br>
          <a:r>
            <a:rPr lang="ru-RU" b="1" dirty="0">
              <a:latin typeface="Times New Roman" pitchFamily="18" charset="0"/>
              <a:cs typeface="Times New Roman" pitchFamily="18" charset="0"/>
            </a:rPr>
            <a:t>Забайкальский край, г. Чита, ул. Ленина, 27 а.</a:t>
          </a:r>
          <a:endParaRPr lang="ru-RU" dirty="0"/>
        </a:p>
      </dgm:t>
    </dgm:pt>
    <dgm:pt modelId="{F1AD73CB-F759-440B-9E32-3A3B8698C92D}" type="parTrans" cxnId="{18D99FDB-A9A9-49A3-B093-67AC90B23BB4}">
      <dgm:prSet/>
      <dgm:spPr/>
      <dgm:t>
        <a:bodyPr/>
        <a:lstStyle/>
        <a:p>
          <a:endParaRPr lang="ru-RU"/>
        </a:p>
      </dgm:t>
    </dgm:pt>
    <dgm:pt modelId="{AC3CA300-AAA8-4586-990A-086BB8998139}" type="sibTrans" cxnId="{18D99FDB-A9A9-49A3-B093-67AC90B23BB4}">
      <dgm:prSet/>
      <dgm:spPr/>
      <dgm:t>
        <a:bodyPr/>
        <a:lstStyle/>
        <a:p>
          <a:endParaRPr lang="ru-RU"/>
        </a:p>
      </dgm:t>
    </dgm:pt>
    <dgm:pt modelId="{FCFF7A97-9BC4-442C-B8D3-3C2357211CFF}">
      <dgm:prSet phldrT="[Текст]"/>
      <dgm:spPr>
        <a:noFill/>
        <a:ln w="44450">
          <a:solidFill>
            <a:schemeClr val="accent6">
              <a:lumMod val="50000"/>
            </a:schemeClr>
          </a:solidFill>
        </a:ln>
      </dgm:spPr>
      <dgm:t>
        <a:bodyPr/>
        <a:lstStyle/>
        <a:p>
          <a:pPr algn="ctr"/>
          <a:r>
            <a:rPr lang="en-US" b="1" dirty="0">
              <a:latin typeface="Times New Roman" pitchFamily="18" charset="0"/>
              <a:cs typeface="Times New Roman" pitchFamily="18" charset="0"/>
            </a:rPr>
            <a:t>E-mail: semya2003@list.ru</a:t>
          </a:r>
          <a:endParaRPr lang="ru-RU" dirty="0"/>
        </a:p>
      </dgm:t>
    </dgm:pt>
    <dgm:pt modelId="{EA2B7960-5E2D-431B-9BE8-719233F29245}" type="parTrans" cxnId="{1673DD6E-5EDB-4D69-8D10-E956D352D80F}">
      <dgm:prSet/>
      <dgm:spPr/>
      <dgm:t>
        <a:bodyPr/>
        <a:lstStyle/>
        <a:p>
          <a:endParaRPr lang="ru-RU"/>
        </a:p>
      </dgm:t>
    </dgm:pt>
    <dgm:pt modelId="{905A729D-5BAD-4A9E-A92C-2D847D0CC5EC}" type="sibTrans" cxnId="{1673DD6E-5EDB-4D69-8D10-E956D352D80F}">
      <dgm:prSet/>
      <dgm:spPr/>
      <dgm:t>
        <a:bodyPr/>
        <a:lstStyle/>
        <a:p>
          <a:endParaRPr lang="ru-RU"/>
        </a:p>
      </dgm:t>
    </dgm:pt>
    <dgm:pt modelId="{020FE3D7-4A45-49F6-9D22-95CC41AB68ED}">
      <dgm:prSet phldrT="[Текст]"/>
      <dgm:spPr>
        <a:noFill/>
        <a:ln w="44450">
          <a:solidFill>
            <a:schemeClr val="accent6">
              <a:lumMod val="50000"/>
            </a:schemeClr>
          </a:solidFill>
        </a:ln>
      </dgm:spPr>
      <dgm:t>
        <a:bodyPr/>
        <a:lstStyle/>
        <a:p>
          <a:pPr algn="ctr"/>
          <a:r>
            <a:rPr lang="ru-RU" b="1" dirty="0">
              <a:latin typeface="Times New Roman" pitchFamily="18" charset="0"/>
              <a:cs typeface="Times New Roman" pitchFamily="18" charset="0"/>
            </a:rPr>
            <a:t>Сайт: </a:t>
          </a:r>
          <a:r>
            <a:rPr lang="en-US" b="1" dirty="0">
              <a:latin typeface="Times New Roman" pitchFamily="18" charset="0"/>
              <a:cs typeface="Times New Roman" pitchFamily="18" charset="0"/>
            </a:rPr>
            <a:t>http://www.centr-semya.ru</a:t>
          </a:r>
          <a:endParaRPr lang="ru-RU" dirty="0"/>
        </a:p>
      </dgm:t>
    </dgm:pt>
    <dgm:pt modelId="{E3ED6C9A-C5D7-41E0-A820-4C5C7CD41A81}" type="parTrans" cxnId="{BFB97168-7910-48A5-8FF9-C3CAFF1E2D92}">
      <dgm:prSet/>
      <dgm:spPr/>
      <dgm:t>
        <a:bodyPr/>
        <a:lstStyle/>
        <a:p>
          <a:endParaRPr lang="ru-RU"/>
        </a:p>
      </dgm:t>
    </dgm:pt>
    <dgm:pt modelId="{D68A4833-5DCA-437C-9EBA-EBFF21287A5C}" type="sibTrans" cxnId="{BFB97168-7910-48A5-8FF9-C3CAFF1E2D92}">
      <dgm:prSet/>
      <dgm:spPr/>
      <dgm:t>
        <a:bodyPr/>
        <a:lstStyle/>
        <a:p>
          <a:endParaRPr lang="ru-RU"/>
        </a:p>
      </dgm:t>
    </dgm:pt>
    <dgm:pt modelId="{10702F8D-F968-4EF4-AFE7-B798162A530B}" type="pres">
      <dgm:prSet presAssocID="{ABFEE9AB-3874-43F1-93A2-883585BD9960}" presName="linear" presStyleCnt="0">
        <dgm:presLayoutVars>
          <dgm:animLvl val="lvl"/>
          <dgm:resizeHandles val="exact"/>
        </dgm:presLayoutVars>
      </dgm:prSet>
      <dgm:spPr/>
    </dgm:pt>
    <dgm:pt modelId="{10287FC7-0F74-4821-B0C7-8853FAE217AA}" type="pres">
      <dgm:prSet presAssocID="{55871306-48CD-4C2B-AEF8-4910BAD56D3C}" presName="parentText" presStyleLbl="node1" presStyleIdx="0" presStyleCnt="4" custLinFactNeighborX="-673" custLinFactNeighborY="-88153">
        <dgm:presLayoutVars>
          <dgm:chMax val="0"/>
          <dgm:bulletEnabled val="1"/>
        </dgm:presLayoutVars>
      </dgm:prSet>
      <dgm:spPr/>
    </dgm:pt>
    <dgm:pt modelId="{A61AB43D-B0A9-44C4-B54B-052DB88A469C}" type="pres">
      <dgm:prSet presAssocID="{F788C5A9-A1EF-4EFB-9D82-6CE649EB4F58}" presName="spacer" presStyleCnt="0"/>
      <dgm:spPr/>
    </dgm:pt>
    <dgm:pt modelId="{0D3CF8C5-8AC8-4C9E-9306-5CBF0649C23C}" type="pres">
      <dgm:prSet presAssocID="{FCFF7A97-9BC4-442C-B8D3-3C2357211CFF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679D83C6-D982-462D-9251-CD7E576358F5}" type="pres">
      <dgm:prSet presAssocID="{905A729D-5BAD-4A9E-A92C-2D847D0CC5EC}" presName="spacer" presStyleCnt="0"/>
      <dgm:spPr/>
    </dgm:pt>
    <dgm:pt modelId="{8A2E5CEE-1D88-42C3-B5C3-286F598A6B7A}" type="pres">
      <dgm:prSet presAssocID="{020FE3D7-4A45-49F6-9D22-95CC41AB68ED}" presName="parentText" presStyleLbl="node1" presStyleIdx="2" presStyleCnt="4" custLinFactNeighborX="-990" custLinFactNeighborY="49433">
        <dgm:presLayoutVars>
          <dgm:chMax val="0"/>
          <dgm:bulletEnabled val="1"/>
        </dgm:presLayoutVars>
      </dgm:prSet>
      <dgm:spPr/>
    </dgm:pt>
    <dgm:pt modelId="{536A76BF-6FCA-4626-836C-B7B227858AE7}" type="pres">
      <dgm:prSet presAssocID="{D68A4833-5DCA-437C-9EBA-EBFF21287A5C}" presName="spacer" presStyleCnt="0"/>
      <dgm:spPr/>
    </dgm:pt>
    <dgm:pt modelId="{50C1369D-72BC-4EFF-8B9B-C7025E45BE1C}" type="pres">
      <dgm:prSet presAssocID="{3DE68280-41B4-46B2-B667-D4EED1097401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89B6FC00-8C3C-4BD5-B63C-3135E24EF1E8}" type="presOf" srcId="{FCFF7A97-9BC4-442C-B8D3-3C2357211CFF}" destId="{0D3CF8C5-8AC8-4C9E-9306-5CBF0649C23C}" srcOrd="0" destOrd="0" presId="urn:microsoft.com/office/officeart/2005/8/layout/vList2"/>
    <dgm:cxn modelId="{E5AF7A2D-B685-49F9-8304-889CCA671657}" type="presOf" srcId="{020FE3D7-4A45-49F6-9D22-95CC41AB68ED}" destId="{8A2E5CEE-1D88-42C3-B5C3-286F598A6B7A}" srcOrd="0" destOrd="0" presId="urn:microsoft.com/office/officeart/2005/8/layout/vList2"/>
    <dgm:cxn modelId="{E67C883D-BDC0-455D-BB25-0564981BF0F6}" srcId="{ABFEE9AB-3874-43F1-93A2-883585BD9960}" destId="{55871306-48CD-4C2B-AEF8-4910BAD56D3C}" srcOrd="0" destOrd="0" parTransId="{D9427241-C0F2-470D-8CDB-595F1C9066F6}" sibTransId="{F788C5A9-A1EF-4EFB-9D82-6CE649EB4F58}"/>
    <dgm:cxn modelId="{BFB97168-7910-48A5-8FF9-C3CAFF1E2D92}" srcId="{ABFEE9AB-3874-43F1-93A2-883585BD9960}" destId="{020FE3D7-4A45-49F6-9D22-95CC41AB68ED}" srcOrd="2" destOrd="0" parTransId="{E3ED6C9A-C5D7-41E0-A820-4C5C7CD41A81}" sibTransId="{D68A4833-5DCA-437C-9EBA-EBFF21287A5C}"/>
    <dgm:cxn modelId="{1673DD6E-5EDB-4D69-8D10-E956D352D80F}" srcId="{ABFEE9AB-3874-43F1-93A2-883585BD9960}" destId="{FCFF7A97-9BC4-442C-B8D3-3C2357211CFF}" srcOrd="1" destOrd="0" parTransId="{EA2B7960-5E2D-431B-9BE8-719233F29245}" sibTransId="{905A729D-5BAD-4A9E-A92C-2D847D0CC5EC}"/>
    <dgm:cxn modelId="{64EBD352-796B-4C97-8B93-C55FDDA533B4}" type="presOf" srcId="{55871306-48CD-4C2B-AEF8-4910BAD56D3C}" destId="{10287FC7-0F74-4821-B0C7-8853FAE217AA}" srcOrd="0" destOrd="0" presId="urn:microsoft.com/office/officeart/2005/8/layout/vList2"/>
    <dgm:cxn modelId="{046FDFD1-4569-4B3F-9D67-F8CAB53826FC}" type="presOf" srcId="{3DE68280-41B4-46B2-B667-D4EED1097401}" destId="{50C1369D-72BC-4EFF-8B9B-C7025E45BE1C}" srcOrd="0" destOrd="0" presId="urn:microsoft.com/office/officeart/2005/8/layout/vList2"/>
    <dgm:cxn modelId="{18D99FDB-A9A9-49A3-B093-67AC90B23BB4}" srcId="{ABFEE9AB-3874-43F1-93A2-883585BD9960}" destId="{3DE68280-41B4-46B2-B667-D4EED1097401}" srcOrd="3" destOrd="0" parTransId="{F1AD73CB-F759-440B-9E32-3A3B8698C92D}" sibTransId="{AC3CA300-AAA8-4586-990A-086BB8998139}"/>
    <dgm:cxn modelId="{7C14CBFE-4B80-4408-A14F-ACE5298F9437}" type="presOf" srcId="{ABFEE9AB-3874-43F1-93A2-883585BD9960}" destId="{10702F8D-F968-4EF4-AFE7-B798162A530B}" srcOrd="0" destOrd="0" presId="urn:microsoft.com/office/officeart/2005/8/layout/vList2"/>
    <dgm:cxn modelId="{F165CA3F-0090-4B75-8FDF-1A6628E645FA}" type="presParOf" srcId="{10702F8D-F968-4EF4-AFE7-B798162A530B}" destId="{10287FC7-0F74-4821-B0C7-8853FAE217AA}" srcOrd="0" destOrd="0" presId="urn:microsoft.com/office/officeart/2005/8/layout/vList2"/>
    <dgm:cxn modelId="{6CC425BE-B263-450B-9BE4-5BBFC90346C9}" type="presParOf" srcId="{10702F8D-F968-4EF4-AFE7-B798162A530B}" destId="{A61AB43D-B0A9-44C4-B54B-052DB88A469C}" srcOrd="1" destOrd="0" presId="urn:microsoft.com/office/officeart/2005/8/layout/vList2"/>
    <dgm:cxn modelId="{84334DBC-8B95-4B16-A65A-37046B1A13D5}" type="presParOf" srcId="{10702F8D-F968-4EF4-AFE7-B798162A530B}" destId="{0D3CF8C5-8AC8-4C9E-9306-5CBF0649C23C}" srcOrd="2" destOrd="0" presId="urn:microsoft.com/office/officeart/2005/8/layout/vList2"/>
    <dgm:cxn modelId="{E762A5C0-1CB1-4979-81D0-730BC52508E5}" type="presParOf" srcId="{10702F8D-F968-4EF4-AFE7-B798162A530B}" destId="{679D83C6-D982-462D-9251-CD7E576358F5}" srcOrd="3" destOrd="0" presId="urn:microsoft.com/office/officeart/2005/8/layout/vList2"/>
    <dgm:cxn modelId="{8A0D315B-B387-44C0-8FAE-245CE3DB8205}" type="presParOf" srcId="{10702F8D-F968-4EF4-AFE7-B798162A530B}" destId="{8A2E5CEE-1D88-42C3-B5C3-286F598A6B7A}" srcOrd="4" destOrd="0" presId="urn:microsoft.com/office/officeart/2005/8/layout/vList2"/>
    <dgm:cxn modelId="{C80F621B-D480-4DE2-95C0-4180750EE601}" type="presParOf" srcId="{10702F8D-F968-4EF4-AFE7-B798162A530B}" destId="{536A76BF-6FCA-4626-836C-B7B227858AE7}" srcOrd="5" destOrd="0" presId="urn:microsoft.com/office/officeart/2005/8/layout/vList2"/>
    <dgm:cxn modelId="{C1133163-6508-467A-82E1-55E132B2270D}" type="presParOf" srcId="{10702F8D-F968-4EF4-AFE7-B798162A530B}" destId="{50C1369D-72BC-4EFF-8B9B-C7025E45BE1C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D1CA8A-D325-4911-889E-CF6876BEBBD2}">
      <dsp:nvSpPr>
        <dsp:cNvPr id="0" name=""/>
        <dsp:cNvSpPr/>
      </dsp:nvSpPr>
      <dsp:spPr>
        <a:xfrm>
          <a:off x="383289" y="344879"/>
          <a:ext cx="4129848" cy="196542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Концепция развития службы психолого-педагогического и социального сопровождения системы образования  Забайкальского края на период до 2025 года (приказ Минобразования Забайкальского края от 25.08.2021 № 787)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83289" y="344879"/>
        <a:ext cx="4129848" cy="1965424"/>
      </dsp:txXfrm>
    </dsp:sp>
    <dsp:sp modelId="{74CE28B5-4E39-4F16-9AC9-1CA25343E152}">
      <dsp:nvSpPr>
        <dsp:cNvPr id="0" name=""/>
        <dsp:cNvSpPr/>
      </dsp:nvSpPr>
      <dsp:spPr>
        <a:xfrm>
          <a:off x="3573271" y="1843103"/>
          <a:ext cx="4129848" cy="196542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Приказ Министерства образования и науки Забайкальского края №143 от 10 февраля 2021 года («О технологии модерации кризисных ситуаций в образовательном пространстве Забайкальского края»)</a:t>
          </a:r>
        </a:p>
      </dsp:txBody>
      <dsp:txXfrm>
        <a:off x="3573271" y="1843103"/>
        <a:ext cx="4129848" cy="19654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055812-805A-4982-B6AA-264593B1D9D8}">
      <dsp:nvSpPr>
        <dsp:cNvPr id="0" name=""/>
        <dsp:cNvSpPr/>
      </dsp:nvSpPr>
      <dsp:spPr>
        <a:xfrm>
          <a:off x="2588" y="207817"/>
          <a:ext cx="2800649" cy="155092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Цель:</a:t>
          </a:r>
          <a:r>
            <a:rPr lang="ru-RU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организационно-методическая поддержка работы специалистов образования по решению кризисных ситуаций участников образовательных отношений.</a:t>
          </a:r>
          <a:endParaRPr lang="ru-RU" sz="1400" kern="1200" dirty="0"/>
        </a:p>
      </dsp:txBody>
      <dsp:txXfrm>
        <a:off x="2588" y="207817"/>
        <a:ext cx="2800649" cy="1550928"/>
      </dsp:txXfrm>
    </dsp:sp>
    <dsp:sp modelId="{295E19E5-D793-4A08-96EE-0C2AABA41A7A}">
      <dsp:nvSpPr>
        <dsp:cNvPr id="0" name=""/>
        <dsp:cNvSpPr/>
      </dsp:nvSpPr>
      <dsp:spPr>
        <a:xfrm>
          <a:off x="3008615" y="226868"/>
          <a:ext cx="2800649" cy="151282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Задачи: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 обеспечить оперативное опосредованное управление кризисной ситуацией;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 создать условия для реализации посреднической функции модератора на уровне межведомственного взаимодействия.</a:t>
          </a:r>
          <a:endParaRPr lang="ru-RU" sz="1200" kern="1200" dirty="0"/>
        </a:p>
      </dsp:txBody>
      <dsp:txXfrm>
        <a:off x="3008615" y="226868"/>
        <a:ext cx="2800649" cy="1512826"/>
      </dsp:txXfrm>
    </dsp:sp>
    <dsp:sp modelId="{0FF5B92E-E6E7-41C0-A870-CE8E16F55F4A}">
      <dsp:nvSpPr>
        <dsp:cNvPr id="0" name=""/>
        <dsp:cNvSpPr/>
      </dsp:nvSpPr>
      <dsp:spPr>
        <a:xfrm>
          <a:off x="6014642" y="198292"/>
          <a:ext cx="2800649" cy="15699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Задачи: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 повышение результативности деятельности специалистов системы образования по решению кризисной ситуации;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 повышение качества оказания психолого-педагогической помощи субъектам образовательных отношений в кризисных ситуациях.</a:t>
          </a:r>
          <a:endParaRPr lang="ru-RU" sz="1200" kern="1200" dirty="0"/>
        </a:p>
      </dsp:txBody>
      <dsp:txXfrm>
        <a:off x="6014642" y="198292"/>
        <a:ext cx="2800649" cy="1569978"/>
      </dsp:txXfrm>
    </dsp:sp>
    <dsp:sp modelId="{ABD77F80-F1FC-4F25-AF0A-801833096FC5}">
      <dsp:nvSpPr>
        <dsp:cNvPr id="0" name=""/>
        <dsp:cNvSpPr/>
      </dsp:nvSpPr>
      <dsp:spPr>
        <a:xfrm>
          <a:off x="865081" y="2027097"/>
          <a:ext cx="2800649" cy="164372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Целевая аудитория: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. специалисты системы образования,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. субъекты, оказавшиеся в кризисной ситуации/«носители кризисных ситуаций».</a:t>
          </a:r>
          <a:endParaRPr lang="ru-RU" sz="1400" kern="1200" dirty="0"/>
        </a:p>
      </dsp:txBody>
      <dsp:txXfrm>
        <a:off x="865081" y="2027097"/>
        <a:ext cx="2800649" cy="1643729"/>
      </dsp:txXfrm>
    </dsp:sp>
    <dsp:sp modelId="{F983F3EE-BD07-48F1-B9FC-608901C4E4C7}">
      <dsp:nvSpPr>
        <dsp:cNvPr id="0" name=""/>
        <dsp:cNvSpPr/>
      </dsp:nvSpPr>
      <dsp:spPr>
        <a:xfrm>
          <a:off x="3871108" y="1973648"/>
          <a:ext cx="4081691" cy="175062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Участвующие субъекты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. </a:t>
          </a:r>
          <a:r>
            <a:rPr lang="ru-RU" sz="1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Министерство образования и науки Забайкальского края (Администратор модерации)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. ГУ «Центр «Семья» (Модератор модерации)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3. Муниципальные </a:t>
          </a:r>
          <a:r>
            <a:rPr lang="ru-RU" sz="1200" kern="120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рганы управления </a:t>
          </a:r>
          <a:r>
            <a:rPr lang="ru-RU" sz="1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бразования (Куратор модерации)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4. Муниципальные антикризисные службы/ муниципальные методические службы (Оператор модерации)</a:t>
          </a:r>
          <a:endParaRPr lang="ru-RU" sz="1200" kern="1200" dirty="0"/>
        </a:p>
      </dsp:txBody>
      <dsp:txXfrm>
        <a:off x="3871108" y="1973648"/>
        <a:ext cx="4081691" cy="175062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38A839-C281-4378-9E28-FE7E6C8A2E76}">
      <dsp:nvSpPr>
        <dsp:cNvPr id="0" name=""/>
        <dsp:cNvSpPr/>
      </dsp:nvSpPr>
      <dsp:spPr>
        <a:xfrm>
          <a:off x="0" y="0"/>
          <a:ext cx="397827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A16627-9CEE-4527-AF34-3A702A2319A0}">
      <dsp:nvSpPr>
        <dsp:cNvPr id="0" name=""/>
        <dsp:cNvSpPr/>
      </dsp:nvSpPr>
      <dsp:spPr>
        <a:xfrm>
          <a:off x="0" y="0"/>
          <a:ext cx="795655" cy="31607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65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795655" cy="3160713"/>
      </dsp:txXfrm>
    </dsp:sp>
    <dsp:sp modelId="{18917D85-1E37-4E37-8523-E8BC4675C4C4}">
      <dsp:nvSpPr>
        <dsp:cNvPr id="0" name=""/>
        <dsp:cNvSpPr/>
      </dsp:nvSpPr>
      <dsp:spPr>
        <a:xfrm>
          <a:off x="855329" y="73461"/>
          <a:ext cx="3122945" cy="1469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0020" tIns="160020" rIns="160020" bIns="160020" numCol="1" spcCol="1270" anchor="t" anchorCtr="0">
          <a:noAutofit/>
        </a:bodyPr>
        <a:lstStyle/>
        <a:p>
          <a:pPr marL="0" lvl="0" indent="0" algn="l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42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Всего случаев - 27</a:t>
          </a:r>
        </a:p>
      </dsp:txBody>
      <dsp:txXfrm>
        <a:off x="855329" y="73461"/>
        <a:ext cx="3122945" cy="1469237"/>
      </dsp:txXfrm>
    </dsp:sp>
    <dsp:sp modelId="{662FA3CD-F7C8-4122-8D8C-AAC74A4563F7}">
      <dsp:nvSpPr>
        <dsp:cNvPr id="0" name=""/>
        <dsp:cNvSpPr/>
      </dsp:nvSpPr>
      <dsp:spPr>
        <a:xfrm>
          <a:off x="795655" y="1542699"/>
          <a:ext cx="318262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accent5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C9826F-FAD0-423C-8143-62B2F1DACD7E}">
      <dsp:nvSpPr>
        <dsp:cNvPr id="0" name=""/>
        <dsp:cNvSpPr/>
      </dsp:nvSpPr>
      <dsp:spPr>
        <a:xfrm>
          <a:off x="855329" y="1616161"/>
          <a:ext cx="3122945" cy="1469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Запросы из 14 районов Забайкальского края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(всего 35 районов)</a:t>
          </a:r>
        </a:p>
      </dsp:txBody>
      <dsp:txXfrm>
        <a:off x="855329" y="1616161"/>
        <a:ext cx="3122945" cy="1469237"/>
      </dsp:txXfrm>
    </dsp:sp>
    <dsp:sp modelId="{BDF822A0-993F-4B74-97C5-D3FD94818C78}">
      <dsp:nvSpPr>
        <dsp:cNvPr id="0" name=""/>
        <dsp:cNvSpPr/>
      </dsp:nvSpPr>
      <dsp:spPr>
        <a:xfrm>
          <a:off x="795655" y="3085399"/>
          <a:ext cx="318262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rnd" cmpd="sng" algn="ctr">
          <a:solidFill>
            <a:srgbClr val="CC99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C057E5-A57B-4B4C-9AED-DF046BEBE162}">
      <dsp:nvSpPr>
        <dsp:cNvPr id="0" name=""/>
        <dsp:cNvSpPr/>
      </dsp:nvSpPr>
      <dsp:spPr>
        <a:xfrm>
          <a:off x="2681" y="223838"/>
          <a:ext cx="2614835" cy="63360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 w="9525" cap="rnd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60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Эффективность</a:t>
          </a:r>
        </a:p>
      </dsp:txBody>
      <dsp:txXfrm>
        <a:off x="2681" y="223838"/>
        <a:ext cx="2614835" cy="633600"/>
      </dsp:txXfrm>
    </dsp:sp>
    <dsp:sp modelId="{34800888-257C-43FC-8AC8-A3ADCDE5B566}">
      <dsp:nvSpPr>
        <dsp:cNvPr id="0" name=""/>
        <dsp:cNvSpPr/>
      </dsp:nvSpPr>
      <dsp:spPr>
        <a:xfrm>
          <a:off x="2681" y="857438"/>
          <a:ext cx="2614835" cy="2912873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rnd" cmpd="sng" algn="ctr">
          <a:solidFill>
            <a:schemeClr val="accent6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2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just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chemeClr val="accent6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sz="2200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98% операторов отмечают эффективность Технологии</a:t>
          </a:r>
        </a:p>
      </dsp:txBody>
      <dsp:txXfrm>
        <a:off x="2681" y="857438"/>
        <a:ext cx="2614835" cy="2912873"/>
      </dsp:txXfrm>
    </dsp:sp>
    <dsp:sp modelId="{BFF4519F-FE15-4481-B4DF-8933A5E35461}">
      <dsp:nvSpPr>
        <dsp:cNvPr id="0" name=""/>
        <dsp:cNvSpPr/>
      </dsp:nvSpPr>
      <dsp:spPr>
        <a:xfrm>
          <a:off x="2983594" y="223838"/>
          <a:ext cx="2614835" cy="63360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 w="9525" cap="rnd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60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остребованность</a:t>
          </a:r>
        </a:p>
      </dsp:txBody>
      <dsp:txXfrm>
        <a:off x="2983594" y="223838"/>
        <a:ext cx="2614835" cy="633600"/>
      </dsp:txXfrm>
    </dsp:sp>
    <dsp:sp modelId="{52CBC5B7-2935-4EC1-8B58-BB75E8DCCF53}">
      <dsp:nvSpPr>
        <dsp:cNvPr id="0" name=""/>
        <dsp:cNvSpPr/>
      </dsp:nvSpPr>
      <dsp:spPr>
        <a:xfrm>
          <a:off x="2983594" y="857438"/>
          <a:ext cx="2614835" cy="2912873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rnd" cmpd="sng" algn="ctr">
          <a:solidFill>
            <a:schemeClr val="accent6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2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just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chemeClr val="accent6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sz="2200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ольшое количество обращений за </a:t>
          </a:r>
          <a:r>
            <a:rPr lang="ru-RU" sz="2200" kern="1200" dirty="0" err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одерацией</a:t>
          </a:r>
          <a:r>
            <a:rPr lang="ru-RU" sz="2200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лучая (каждый месяц, как минимум, 1 обращение из муниципалитета)</a:t>
          </a:r>
        </a:p>
      </dsp:txBody>
      <dsp:txXfrm>
        <a:off x="2983594" y="857438"/>
        <a:ext cx="2614835" cy="2912873"/>
      </dsp:txXfrm>
    </dsp:sp>
    <dsp:sp modelId="{258AD88D-9B8E-4879-948C-B7D09341D613}">
      <dsp:nvSpPr>
        <dsp:cNvPr id="0" name=""/>
        <dsp:cNvSpPr/>
      </dsp:nvSpPr>
      <dsp:spPr>
        <a:xfrm>
          <a:off x="5964507" y="223838"/>
          <a:ext cx="2614835" cy="63360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 w="9525" cap="rnd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60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оступность</a:t>
          </a:r>
        </a:p>
      </dsp:txBody>
      <dsp:txXfrm>
        <a:off x="5964507" y="223838"/>
        <a:ext cx="2614835" cy="633600"/>
      </dsp:txXfrm>
    </dsp:sp>
    <dsp:sp modelId="{CB7E4EAA-76FC-4171-987E-156995E09162}">
      <dsp:nvSpPr>
        <dsp:cNvPr id="0" name=""/>
        <dsp:cNvSpPr/>
      </dsp:nvSpPr>
      <dsp:spPr>
        <a:xfrm>
          <a:off x="5964507" y="857438"/>
          <a:ext cx="2614835" cy="2912873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rnd" cmpd="sng" algn="ctr">
          <a:solidFill>
            <a:schemeClr val="accent6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2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just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lr>
              <a:schemeClr val="accent6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sz="22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Мобильная реакция модератора на запросы о модерации случая (в течении суток)</a:t>
          </a:r>
        </a:p>
      </dsp:txBody>
      <dsp:txXfrm>
        <a:off x="5964507" y="857438"/>
        <a:ext cx="2614835" cy="291287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97A865-466C-42AD-9053-4C98DABB233C}">
      <dsp:nvSpPr>
        <dsp:cNvPr id="0" name=""/>
        <dsp:cNvSpPr/>
      </dsp:nvSpPr>
      <dsp:spPr>
        <a:xfrm>
          <a:off x="3776" y="38204"/>
          <a:ext cx="2004238" cy="534983"/>
        </a:xfrm>
        <a:prstGeom prst="roundRect">
          <a:avLst>
            <a:gd name="adj" fmla="val 10000"/>
          </a:avLst>
        </a:prstGeom>
        <a:solidFill>
          <a:schemeClr val="bg1"/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Сложности</a:t>
          </a:r>
        </a:p>
      </dsp:txBody>
      <dsp:txXfrm>
        <a:off x="19445" y="53873"/>
        <a:ext cx="1972900" cy="503645"/>
      </dsp:txXfrm>
    </dsp:sp>
    <dsp:sp modelId="{C09672DA-6DA4-4BCF-807A-B71CFBE32A25}">
      <dsp:nvSpPr>
        <dsp:cNvPr id="0" name=""/>
        <dsp:cNvSpPr/>
      </dsp:nvSpPr>
      <dsp:spPr>
        <a:xfrm>
          <a:off x="204200" y="573187"/>
          <a:ext cx="200423" cy="4012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1237"/>
              </a:lnTo>
              <a:lnTo>
                <a:pt x="200423" y="401237"/>
              </a:lnTo>
            </a:path>
          </a:pathLst>
        </a:custGeom>
        <a:noFill/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4E121A-DD1B-4C76-BE5E-D0FF9CA8C0AA}">
      <dsp:nvSpPr>
        <dsp:cNvPr id="0" name=""/>
        <dsp:cNvSpPr/>
      </dsp:nvSpPr>
      <dsp:spPr>
        <a:xfrm>
          <a:off x="404624" y="706933"/>
          <a:ext cx="1607542" cy="534983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Длительная «раскачка» участников </a:t>
          </a:r>
          <a:r>
            <a:rPr lang="ru-RU" sz="1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модерации</a:t>
          </a:r>
          <a:endParaRPr lang="ru-RU" sz="10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20293" y="722602"/>
        <a:ext cx="1576204" cy="503645"/>
      </dsp:txXfrm>
    </dsp:sp>
    <dsp:sp modelId="{1F16E2CB-F26F-49F4-ADAE-694BAEDA08D9}">
      <dsp:nvSpPr>
        <dsp:cNvPr id="0" name=""/>
        <dsp:cNvSpPr/>
      </dsp:nvSpPr>
      <dsp:spPr>
        <a:xfrm>
          <a:off x="204200" y="573187"/>
          <a:ext cx="200423" cy="10699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9966"/>
              </a:lnTo>
              <a:lnTo>
                <a:pt x="200423" y="1069966"/>
              </a:lnTo>
            </a:path>
          </a:pathLst>
        </a:custGeom>
        <a:noFill/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B9E0BE-2B78-4FF2-AF2A-5F48A8E79A25}">
      <dsp:nvSpPr>
        <dsp:cNvPr id="0" name=""/>
        <dsp:cNvSpPr/>
      </dsp:nvSpPr>
      <dsp:spPr>
        <a:xfrm>
          <a:off x="404624" y="1375662"/>
          <a:ext cx="1909187" cy="534983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едостоверная информация (неполная, несвоевременная)</a:t>
          </a:r>
        </a:p>
      </dsp:txBody>
      <dsp:txXfrm>
        <a:off x="420293" y="1391331"/>
        <a:ext cx="1877849" cy="503645"/>
      </dsp:txXfrm>
    </dsp:sp>
    <dsp:sp modelId="{6B57632E-B677-4FDF-A397-30BDAC6C885E}">
      <dsp:nvSpPr>
        <dsp:cNvPr id="0" name=""/>
        <dsp:cNvSpPr/>
      </dsp:nvSpPr>
      <dsp:spPr>
        <a:xfrm>
          <a:off x="204200" y="573187"/>
          <a:ext cx="200423" cy="17386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38694"/>
              </a:lnTo>
              <a:lnTo>
                <a:pt x="200423" y="1738694"/>
              </a:lnTo>
            </a:path>
          </a:pathLst>
        </a:custGeom>
        <a:noFill/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7543F5-738E-47ED-91F3-7042582CB4F5}">
      <dsp:nvSpPr>
        <dsp:cNvPr id="0" name=""/>
        <dsp:cNvSpPr/>
      </dsp:nvSpPr>
      <dsp:spPr>
        <a:xfrm>
          <a:off x="404624" y="2044391"/>
          <a:ext cx="2213468" cy="534983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ерекладывание ответственности за работу и ее результат на  модератора</a:t>
          </a:r>
        </a:p>
      </dsp:txBody>
      <dsp:txXfrm>
        <a:off x="420293" y="2060060"/>
        <a:ext cx="2182130" cy="503645"/>
      </dsp:txXfrm>
    </dsp:sp>
    <dsp:sp modelId="{7B73CD9E-350E-4489-9E77-2DB981F045DE}">
      <dsp:nvSpPr>
        <dsp:cNvPr id="0" name=""/>
        <dsp:cNvSpPr/>
      </dsp:nvSpPr>
      <dsp:spPr>
        <a:xfrm>
          <a:off x="204200" y="573187"/>
          <a:ext cx="200423" cy="24074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07423"/>
              </a:lnTo>
              <a:lnTo>
                <a:pt x="200423" y="2407423"/>
              </a:lnTo>
            </a:path>
          </a:pathLst>
        </a:custGeom>
        <a:noFill/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0BA46-32F5-46CC-8767-3E636E096D83}">
      <dsp:nvSpPr>
        <dsp:cNvPr id="0" name=""/>
        <dsp:cNvSpPr/>
      </dsp:nvSpPr>
      <dsp:spPr>
        <a:xfrm>
          <a:off x="404624" y="2713119"/>
          <a:ext cx="2661236" cy="534983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Дефицит кадров модератора, оператора модерации (отсутствие муниципальных антикризисных служб)</a:t>
          </a:r>
        </a:p>
      </dsp:txBody>
      <dsp:txXfrm>
        <a:off x="420293" y="2728788"/>
        <a:ext cx="2629898" cy="503645"/>
      </dsp:txXfrm>
    </dsp:sp>
    <dsp:sp modelId="{2D4C4F9C-46DE-4501-8F2B-906A3A4441AE}">
      <dsp:nvSpPr>
        <dsp:cNvPr id="0" name=""/>
        <dsp:cNvSpPr/>
      </dsp:nvSpPr>
      <dsp:spPr>
        <a:xfrm>
          <a:off x="204200" y="573187"/>
          <a:ext cx="200423" cy="30761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6152"/>
              </a:lnTo>
              <a:lnTo>
                <a:pt x="200423" y="3076152"/>
              </a:lnTo>
            </a:path>
          </a:pathLst>
        </a:custGeom>
        <a:noFill/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022DF1-7D33-4992-A74B-0A3B696C5AD9}">
      <dsp:nvSpPr>
        <dsp:cNvPr id="0" name=""/>
        <dsp:cNvSpPr/>
      </dsp:nvSpPr>
      <dsp:spPr>
        <a:xfrm>
          <a:off x="404624" y="3381848"/>
          <a:ext cx="3018288" cy="534983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роблемы с установлением межведомственного контакта</a:t>
          </a:r>
        </a:p>
      </dsp:txBody>
      <dsp:txXfrm>
        <a:off x="420293" y="3397517"/>
        <a:ext cx="2986950" cy="503645"/>
      </dsp:txXfrm>
    </dsp:sp>
    <dsp:sp modelId="{1D80B982-554E-4508-B0A4-C921AE2D3F63}">
      <dsp:nvSpPr>
        <dsp:cNvPr id="0" name=""/>
        <dsp:cNvSpPr/>
      </dsp:nvSpPr>
      <dsp:spPr>
        <a:xfrm>
          <a:off x="3258286" y="38204"/>
          <a:ext cx="2160593" cy="534983"/>
        </a:xfrm>
        <a:prstGeom prst="roundRect">
          <a:avLst>
            <a:gd name="adj" fmla="val 10000"/>
          </a:avLst>
        </a:prstGeom>
        <a:solidFill>
          <a:schemeClr val="bg1"/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арианты минимизации</a:t>
          </a:r>
        </a:p>
      </dsp:txBody>
      <dsp:txXfrm>
        <a:off x="3273955" y="53873"/>
        <a:ext cx="2129255" cy="503645"/>
      </dsp:txXfrm>
    </dsp:sp>
    <dsp:sp modelId="{BE32DE00-5ABF-4475-8A88-5E773F6D02C8}">
      <dsp:nvSpPr>
        <dsp:cNvPr id="0" name=""/>
        <dsp:cNvSpPr/>
      </dsp:nvSpPr>
      <dsp:spPr>
        <a:xfrm>
          <a:off x="3474345" y="573187"/>
          <a:ext cx="216059" cy="4012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1237"/>
              </a:lnTo>
              <a:lnTo>
                <a:pt x="216059" y="401237"/>
              </a:lnTo>
            </a:path>
          </a:pathLst>
        </a:custGeom>
        <a:noFill/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EDB733-8E89-4633-A6AB-206821278129}">
      <dsp:nvSpPr>
        <dsp:cNvPr id="0" name=""/>
        <dsp:cNvSpPr/>
      </dsp:nvSpPr>
      <dsp:spPr>
        <a:xfrm>
          <a:off x="3690404" y="706933"/>
          <a:ext cx="2272838" cy="534983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Актуализация информации через нормативные документы, </a:t>
          </a:r>
          <a:r>
            <a:rPr lang="ru-RU" sz="1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ебинары</a:t>
          </a:r>
          <a:endParaRPr lang="ru-RU" sz="10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3706073" y="722602"/>
        <a:ext cx="2241500" cy="503645"/>
      </dsp:txXfrm>
    </dsp:sp>
    <dsp:sp modelId="{6A18E458-4329-4B6E-9BFE-4C92EC770B9D}">
      <dsp:nvSpPr>
        <dsp:cNvPr id="0" name=""/>
        <dsp:cNvSpPr/>
      </dsp:nvSpPr>
      <dsp:spPr>
        <a:xfrm>
          <a:off x="3474345" y="573187"/>
          <a:ext cx="216059" cy="10699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9966"/>
              </a:lnTo>
              <a:lnTo>
                <a:pt x="216059" y="1069966"/>
              </a:lnTo>
            </a:path>
          </a:pathLst>
        </a:custGeom>
        <a:noFill/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1D3309-15B7-4CD1-9708-93532CCBDB7F}">
      <dsp:nvSpPr>
        <dsp:cNvPr id="0" name=""/>
        <dsp:cNvSpPr/>
      </dsp:nvSpPr>
      <dsp:spPr>
        <a:xfrm>
          <a:off x="3690404" y="1375662"/>
          <a:ext cx="2052348" cy="534983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Нормативно-правовая документация, регламентирующая сроки и объем информации передаваемой модератору</a:t>
          </a:r>
        </a:p>
      </dsp:txBody>
      <dsp:txXfrm>
        <a:off x="3706073" y="1391331"/>
        <a:ext cx="2021010" cy="503645"/>
      </dsp:txXfrm>
    </dsp:sp>
    <dsp:sp modelId="{13A92AF7-CFC2-43FA-A042-ABF9DBB81C48}">
      <dsp:nvSpPr>
        <dsp:cNvPr id="0" name=""/>
        <dsp:cNvSpPr/>
      </dsp:nvSpPr>
      <dsp:spPr>
        <a:xfrm>
          <a:off x="3474345" y="573187"/>
          <a:ext cx="201011" cy="17263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6368"/>
              </a:lnTo>
              <a:lnTo>
                <a:pt x="201011" y="1726368"/>
              </a:lnTo>
            </a:path>
          </a:pathLst>
        </a:custGeom>
        <a:noFill/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420F51-FF50-443F-9B9A-7D99E3C5A52E}">
      <dsp:nvSpPr>
        <dsp:cNvPr id="0" name=""/>
        <dsp:cNvSpPr/>
      </dsp:nvSpPr>
      <dsp:spPr>
        <a:xfrm>
          <a:off x="3675356" y="2032065"/>
          <a:ext cx="2954407" cy="534983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Четкое распределение ролей и функций участников модерации  через утверждение Технологии и Порядка модерации, твердая позиция модератора</a:t>
          </a:r>
        </a:p>
      </dsp:txBody>
      <dsp:txXfrm>
        <a:off x="3691025" y="2047734"/>
        <a:ext cx="2923069" cy="503645"/>
      </dsp:txXfrm>
    </dsp:sp>
    <dsp:sp modelId="{A2F4F6BE-A2E1-49CF-B3A9-71AD233658A9}">
      <dsp:nvSpPr>
        <dsp:cNvPr id="0" name=""/>
        <dsp:cNvSpPr/>
      </dsp:nvSpPr>
      <dsp:spPr>
        <a:xfrm>
          <a:off x="3474345" y="573187"/>
          <a:ext cx="219836" cy="24052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05235"/>
              </a:lnTo>
              <a:lnTo>
                <a:pt x="219836" y="2405235"/>
              </a:lnTo>
            </a:path>
          </a:pathLst>
        </a:custGeom>
        <a:noFill/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482650-CAC6-423C-96D2-3573576A7B45}">
      <dsp:nvSpPr>
        <dsp:cNvPr id="0" name=""/>
        <dsp:cNvSpPr/>
      </dsp:nvSpPr>
      <dsp:spPr>
        <a:xfrm>
          <a:off x="3694181" y="2710931"/>
          <a:ext cx="4117905" cy="534983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Дополнительные ставки; нормативно-правовая документация, регламентирующая деятельность  и состав муниципальных антикризисных служб; внутренняя система взаимоотношений, позволяющая эффективно использовать имеющиеся ресурсы</a:t>
          </a:r>
        </a:p>
      </dsp:txBody>
      <dsp:txXfrm>
        <a:off x="3709850" y="2726600"/>
        <a:ext cx="4086567" cy="503645"/>
      </dsp:txXfrm>
    </dsp:sp>
    <dsp:sp modelId="{68107CF6-F934-46E0-9E0C-892DBBB7E282}">
      <dsp:nvSpPr>
        <dsp:cNvPr id="0" name=""/>
        <dsp:cNvSpPr/>
      </dsp:nvSpPr>
      <dsp:spPr>
        <a:xfrm>
          <a:off x="3474345" y="573187"/>
          <a:ext cx="216059" cy="31417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41746"/>
              </a:lnTo>
              <a:lnTo>
                <a:pt x="216059" y="3141746"/>
              </a:lnTo>
            </a:path>
          </a:pathLst>
        </a:custGeom>
        <a:noFill/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7CB3E5-96DA-46FC-B58E-589F0FAC5C2E}">
      <dsp:nvSpPr>
        <dsp:cNvPr id="0" name=""/>
        <dsp:cNvSpPr/>
      </dsp:nvSpPr>
      <dsp:spPr>
        <a:xfrm>
          <a:off x="3690404" y="3381848"/>
          <a:ext cx="2791438" cy="666171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5875" cap="rnd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Личные связи, взаимодействие со звеном управления в различных сферах, точечные взаимодействие со специалистами, нормативная документация (локальные документы)</a:t>
          </a:r>
        </a:p>
      </dsp:txBody>
      <dsp:txXfrm>
        <a:off x="3709915" y="3401359"/>
        <a:ext cx="2752416" cy="62714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287FC7-0F74-4821-B0C7-8853FAE217AA}">
      <dsp:nvSpPr>
        <dsp:cNvPr id="0" name=""/>
        <dsp:cNvSpPr/>
      </dsp:nvSpPr>
      <dsp:spPr>
        <a:xfrm>
          <a:off x="0" y="50579"/>
          <a:ext cx="6859680" cy="941118"/>
        </a:xfrm>
        <a:prstGeom prst="roundRect">
          <a:avLst/>
        </a:prstGeom>
        <a:noFill/>
        <a:ln w="44450">
          <a:solidFill>
            <a:schemeClr val="accent6">
              <a:lumMod val="50000"/>
            </a:schemeClr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latin typeface="Times New Roman" pitchFamily="18" charset="0"/>
              <a:cs typeface="Times New Roman" pitchFamily="18" charset="0"/>
            </a:rPr>
            <a:t>Телефон:</a:t>
          </a:r>
          <a:br>
            <a:rPr lang="ru-RU" sz="2000" b="1" kern="1200" dirty="0">
              <a:latin typeface="Times New Roman" pitchFamily="18" charset="0"/>
              <a:cs typeface="Times New Roman" pitchFamily="18" charset="0"/>
            </a:rPr>
          </a:br>
          <a:r>
            <a:rPr lang="ru-RU" sz="2000" b="1" kern="1200" dirty="0">
              <a:latin typeface="Times New Roman" pitchFamily="18" charset="0"/>
              <a:cs typeface="Times New Roman" pitchFamily="18" charset="0"/>
            </a:rPr>
            <a:t>89144389050, 89143695080</a:t>
          </a:r>
          <a:endParaRPr lang="ru-RU" sz="2000" kern="1200" dirty="0"/>
        </a:p>
      </dsp:txBody>
      <dsp:txXfrm>
        <a:off x="45942" y="96521"/>
        <a:ext cx="6767796" cy="849234"/>
      </dsp:txXfrm>
    </dsp:sp>
    <dsp:sp modelId="{0D3CF8C5-8AC8-4C9E-9306-5CBF0649C23C}">
      <dsp:nvSpPr>
        <dsp:cNvPr id="0" name=""/>
        <dsp:cNvSpPr/>
      </dsp:nvSpPr>
      <dsp:spPr>
        <a:xfrm>
          <a:off x="0" y="1121749"/>
          <a:ext cx="6859680" cy="941118"/>
        </a:xfrm>
        <a:prstGeom prst="roundRect">
          <a:avLst/>
        </a:prstGeom>
        <a:noFill/>
        <a:ln w="44450">
          <a:solidFill>
            <a:schemeClr val="accent6">
              <a:lumMod val="50000"/>
            </a:schemeClr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latin typeface="Times New Roman" pitchFamily="18" charset="0"/>
              <a:cs typeface="Times New Roman" pitchFamily="18" charset="0"/>
            </a:rPr>
            <a:t>E-mail: semya2003@list.ru</a:t>
          </a:r>
          <a:endParaRPr lang="ru-RU" sz="2400" kern="1200" dirty="0"/>
        </a:p>
      </dsp:txBody>
      <dsp:txXfrm>
        <a:off x="45942" y="1167691"/>
        <a:ext cx="6767796" cy="849234"/>
      </dsp:txXfrm>
    </dsp:sp>
    <dsp:sp modelId="{8A2E5CEE-1D88-42C3-B5C3-286F598A6B7A}">
      <dsp:nvSpPr>
        <dsp:cNvPr id="0" name=""/>
        <dsp:cNvSpPr/>
      </dsp:nvSpPr>
      <dsp:spPr>
        <a:xfrm>
          <a:off x="0" y="2166156"/>
          <a:ext cx="6859680" cy="941118"/>
        </a:xfrm>
        <a:prstGeom prst="roundRect">
          <a:avLst/>
        </a:prstGeom>
        <a:noFill/>
        <a:ln w="44450">
          <a:solidFill>
            <a:schemeClr val="accent6">
              <a:lumMod val="50000"/>
            </a:schemeClr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Сайт: </a:t>
          </a:r>
          <a:r>
            <a:rPr lang="en-US" sz="2400" b="1" kern="1200" dirty="0">
              <a:latin typeface="Times New Roman" pitchFamily="18" charset="0"/>
              <a:cs typeface="Times New Roman" pitchFamily="18" charset="0"/>
            </a:rPr>
            <a:t>http://www.centr-semya.ru</a:t>
          </a:r>
          <a:endParaRPr lang="ru-RU" sz="2400" kern="1200" dirty="0"/>
        </a:p>
      </dsp:txBody>
      <dsp:txXfrm>
        <a:off x="45942" y="2212098"/>
        <a:ext cx="6767796" cy="849234"/>
      </dsp:txXfrm>
    </dsp:sp>
    <dsp:sp modelId="{50C1369D-72BC-4EFF-8B9B-C7025E45BE1C}">
      <dsp:nvSpPr>
        <dsp:cNvPr id="0" name=""/>
        <dsp:cNvSpPr/>
      </dsp:nvSpPr>
      <dsp:spPr>
        <a:xfrm>
          <a:off x="0" y="3142227"/>
          <a:ext cx="6859680" cy="941118"/>
        </a:xfrm>
        <a:prstGeom prst="roundRect">
          <a:avLst/>
        </a:prstGeom>
        <a:noFill/>
        <a:ln w="44450">
          <a:solidFill>
            <a:schemeClr val="accent6">
              <a:lumMod val="50000"/>
            </a:schemeClr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Наш адрес:</a:t>
          </a:r>
          <a:br>
            <a:rPr lang="ru-RU" sz="2400" b="1" kern="1200" dirty="0">
              <a:latin typeface="Times New Roman" pitchFamily="18" charset="0"/>
              <a:cs typeface="Times New Roman" pitchFamily="18" charset="0"/>
            </a:rPr>
          </a:br>
          <a:r>
            <a:rPr lang="ru-RU" sz="2400" b="1" kern="1200" dirty="0">
              <a:latin typeface="Times New Roman" pitchFamily="18" charset="0"/>
              <a:cs typeface="Times New Roman" pitchFamily="18" charset="0"/>
            </a:rPr>
            <a:t>Забайкальский край, г. Чита, ул. Ленина, 27 а.</a:t>
          </a:r>
          <a:endParaRPr lang="ru-RU" sz="2400" kern="1200" dirty="0"/>
        </a:p>
      </dsp:txBody>
      <dsp:txXfrm>
        <a:off x="45942" y="3188169"/>
        <a:ext cx="6767796" cy="8492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74" cy="4976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10" y="0"/>
            <a:ext cx="2930574" cy="4976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93429B-8B42-4BC8-895A-EBB83C356D4E}" type="datetimeFigureOut">
              <a:rPr lang="ru-RU" smtClean="0"/>
              <a:t>11.05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3321"/>
            <a:ext cx="2930574" cy="497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10" y="9443321"/>
            <a:ext cx="2930574" cy="497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669416-D5E9-4B70-86A6-43BF633F4BE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16500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5"/>
            <a:ext cx="2929836" cy="498853"/>
          </a:xfrm>
          <a:prstGeom prst="rect">
            <a:avLst/>
          </a:prstGeom>
        </p:spPr>
        <p:txBody>
          <a:bodyPr vert="horz" lIns="91867" tIns="45934" rIns="91867" bIns="45934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29770" y="5"/>
            <a:ext cx="2929836" cy="498853"/>
          </a:xfrm>
          <a:prstGeom prst="rect">
            <a:avLst/>
          </a:prstGeom>
        </p:spPr>
        <p:txBody>
          <a:bodyPr vert="horz" lIns="91867" tIns="45934" rIns="91867" bIns="45934" rtlCol="0"/>
          <a:lstStyle>
            <a:lvl1pPr algn="r">
              <a:defRPr sz="1200"/>
            </a:lvl1pPr>
          </a:lstStyle>
          <a:p>
            <a:fld id="{CFB7FEED-C190-4810-913F-7438EE41104D}" type="datetimeFigureOut">
              <a:rPr lang="en-GB" smtClean="0"/>
              <a:pPr/>
              <a:t>11/05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225" y="1244600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67" tIns="45934" rIns="91867" bIns="45934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117" y="4784837"/>
            <a:ext cx="5408930" cy="3914865"/>
          </a:xfrm>
          <a:prstGeom prst="rect">
            <a:avLst/>
          </a:prstGeom>
        </p:spPr>
        <p:txBody>
          <a:bodyPr vert="horz" lIns="91867" tIns="45934" rIns="91867" bIns="4593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" y="9443669"/>
            <a:ext cx="2929836" cy="498853"/>
          </a:xfrm>
          <a:prstGeom prst="rect">
            <a:avLst/>
          </a:prstGeom>
        </p:spPr>
        <p:txBody>
          <a:bodyPr vert="horz" lIns="91867" tIns="45934" rIns="91867" bIns="45934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29770" y="9443669"/>
            <a:ext cx="2929836" cy="498853"/>
          </a:xfrm>
          <a:prstGeom prst="rect">
            <a:avLst/>
          </a:prstGeom>
        </p:spPr>
        <p:txBody>
          <a:bodyPr vert="horz" lIns="91867" tIns="45934" rIns="91867" bIns="45934" rtlCol="0" anchor="b"/>
          <a:lstStyle>
            <a:lvl1pPr algn="r">
              <a:defRPr sz="1200"/>
            </a:lvl1pPr>
          </a:lstStyle>
          <a:p>
            <a:fld id="{CAFDC95A-E73C-4092-8ABF-AE007264C1A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1698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1628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08144" algn="l" defTabSz="81628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16287" algn="l" defTabSz="81628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24431" algn="l" defTabSz="81628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632575" algn="l" defTabSz="81628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040718" algn="l" defTabSz="81628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48862" algn="l" defTabSz="81628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57006" algn="l" defTabSz="81628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65150" algn="l" defTabSz="81628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7440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9040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jpeg"/><Relationship Id="rId4" Type="http://schemas.openxmlformats.org/officeDocument/2006/relationships/hyperlink" Target="http://www.protown.ru/netcat_files/Image/gerb_chit.gif" TargetMode="Externa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8.bin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41910" y="1885950"/>
            <a:ext cx="6686549" cy="1697086"/>
          </a:xfrm>
        </p:spPr>
        <p:txBody>
          <a:bodyPr anchor="b">
            <a:normAutofit/>
          </a:bodyPr>
          <a:lstStyle>
            <a:lvl1pPr>
              <a:defRPr sz="40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41910" y="3583035"/>
            <a:ext cx="6686549" cy="844712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3242858"/>
            <a:ext cx="1308489" cy="583942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8860" y="3397155"/>
            <a:ext cx="584825" cy="273844"/>
          </a:xfrm>
        </p:spPr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658331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910" y="457200"/>
            <a:ext cx="6686549" cy="2337780"/>
          </a:xfrm>
        </p:spPr>
        <p:txBody>
          <a:bodyPr anchor="ctr">
            <a:normAutofit/>
          </a:bodyPr>
          <a:lstStyle>
            <a:lvl1pPr algn="l">
              <a:defRPr sz="36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41910" y="3265535"/>
            <a:ext cx="6686549" cy="1166898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3141" y="238363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8860" y="2433105"/>
            <a:ext cx="584825" cy="273844"/>
          </a:xfrm>
        </p:spPr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1247333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7462" y="457200"/>
            <a:ext cx="6295445" cy="2171700"/>
          </a:xfrm>
        </p:spPr>
        <p:txBody>
          <a:bodyPr anchor="ctr">
            <a:normAutofit/>
          </a:bodyPr>
          <a:lstStyle>
            <a:lvl1pPr algn="l">
              <a:defRPr sz="36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56259" y="2628900"/>
            <a:ext cx="5652416" cy="28575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41910" y="3265535"/>
            <a:ext cx="6686549" cy="1166898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3141" y="238363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8860" y="2433105"/>
            <a:ext cx="584825" cy="273844"/>
          </a:xfrm>
        </p:spPr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1850739" y="486004"/>
            <a:ext cx="457200" cy="43858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36139" y="2178980"/>
            <a:ext cx="457200" cy="43858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20027468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910" y="1828800"/>
            <a:ext cx="6686550" cy="2043634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910" y="3886200"/>
            <a:ext cx="6686550" cy="547217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3141" y="3683794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98860" y="3737316"/>
            <a:ext cx="584825" cy="273844"/>
          </a:xfrm>
        </p:spPr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9830460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137462" y="457200"/>
            <a:ext cx="6295445" cy="2171700"/>
          </a:xfrm>
        </p:spPr>
        <p:txBody>
          <a:bodyPr anchor="ctr">
            <a:normAutofit/>
          </a:bodyPr>
          <a:lstStyle>
            <a:lvl1pPr algn="l">
              <a:defRPr sz="36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941909" y="3257550"/>
            <a:ext cx="6686550" cy="62865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>
                <a:solidFill>
                  <a:schemeClr val="accent1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910" y="3886200"/>
            <a:ext cx="6686550" cy="547217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3141" y="3683794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98860" y="3737316"/>
            <a:ext cx="584825" cy="273844"/>
          </a:xfrm>
        </p:spPr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1850739" y="486004"/>
            <a:ext cx="457200" cy="43858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336139" y="2178980"/>
            <a:ext cx="457200" cy="43858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9180461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910" y="470555"/>
            <a:ext cx="6686549" cy="2160015"/>
          </a:xfrm>
        </p:spPr>
        <p:txBody>
          <a:bodyPr anchor="ctr">
            <a:normAutofit/>
          </a:bodyPr>
          <a:lstStyle>
            <a:lvl1pPr algn="l">
              <a:defRPr sz="36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941909" y="3257550"/>
            <a:ext cx="6686550" cy="62865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>
                <a:solidFill>
                  <a:schemeClr val="accent1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910" y="3886200"/>
            <a:ext cx="6686550" cy="547217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3141" y="3683794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98860" y="3737316"/>
            <a:ext cx="584825" cy="273844"/>
          </a:xfrm>
        </p:spPr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77695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3141" y="53578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974992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71109" y="470554"/>
            <a:ext cx="1655701" cy="3962863"/>
          </a:xfrm>
        </p:spPr>
        <p:txBody>
          <a:bodyPr vert="eaVert" anchor="ctr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41909" y="470554"/>
            <a:ext cx="4857750" cy="396286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3141" y="53578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45050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9329704"/>
              </p:ext>
            </p:extLst>
          </p:nvPr>
        </p:nvGraphicFramePr>
        <p:xfrm>
          <a:off x="1134" y="852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32E3AD5-F316-4DEB-BEC3-46FB12184E8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2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6005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62712" y="79574"/>
            <a:ext cx="8418576" cy="263790"/>
          </a:xfrm>
        </p:spPr>
        <p:txBody>
          <a:bodyPr lIns="0" tIns="0" rIns="0" bIns="0"/>
          <a:lstStyle>
            <a:lvl1pPr>
              <a:defRPr sz="1714" b="1" i="0">
                <a:solidFill>
                  <a:srgbClr val="40404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5"/>
            <a:ext cx="2926080" cy="169277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4783455"/>
            <a:ext cx="2103120" cy="169277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C665ED-EDA6-4887-8B2A-4CFD32FDDD0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1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5" b="1" i="0">
                <a:solidFill>
                  <a:srgbClr val="888888"/>
                </a:solidFill>
                <a:latin typeface="Arial"/>
                <a:cs typeface="Arial"/>
              </a:defRPr>
            </a:lvl1pPr>
          </a:lstStyle>
          <a:p>
            <a:pPr marL="20410">
              <a:spcBef>
                <a:spcPts val="27"/>
              </a:spcBef>
            </a:pPr>
            <a:fld id="{81D60167-4931-47E6-BA6A-407CBD079E47}" type="slidenum">
              <a:rPr lang="ru-RU" spc="11" smtClean="0"/>
              <a:pPr marL="20410">
                <a:spcBef>
                  <a:spcPts val="27"/>
                </a:spcBef>
              </a:pPr>
              <a:t>‹#›</a:t>
            </a:fld>
            <a:endParaRPr lang="ru-RU" spc="11" dirty="0"/>
          </a:p>
        </p:txBody>
      </p:sp>
    </p:spTree>
    <p:extLst>
      <p:ext uri="{BB962C8B-B14F-4D97-AF65-F5344CB8AC3E}">
        <p14:creationId xmlns:p14="http://schemas.microsoft.com/office/powerpoint/2010/main" val="3721184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0" y="6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91368" fontAlgn="auto">
              <a:lnSpc>
                <a:spcPct val="90000"/>
              </a:lnSpc>
              <a:defRPr/>
            </a:pPr>
            <a:endParaRPr lang="en-US" sz="39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 8" hidden="1"/>
          <p:cNvSpPr/>
          <p:nvPr userDrawn="1">
            <p:custDataLst>
              <p:tags r:id="rId2"/>
            </p:custDataLst>
          </p:nvPr>
        </p:nvSpPr>
        <p:spPr>
          <a:xfrm>
            <a:off x="0" y="6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90717" fontAlgn="auto">
              <a:lnSpc>
                <a:spcPct val="90000"/>
              </a:lnSpc>
              <a:defRPr/>
            </a:pPr>
            <a:endParaRPr lang="en-US" sz="20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 flipH="1">
            <a:off x="393701" y="604838"/>
            <a:ext cx="852011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9" descr="Картинка 1 из 968">
            <a:hlinkClick r:id="rId4"/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82943" y="28950"/>
            <a:ext cx="547799" cy="574414"/>
          </a:xfrm>
          <a:prstGeom prst="rect">
            <a:avLst/>
          </a:prstGeom>
          <a:ln>
            <a:noFill/>
          </a:ln>
          <a:effectLst>
            <a:softEdge rad="3175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11" y="73409"/>
            <a:ext cx="7272355" cy="592867"/>
          </a:xfrm>
        </p:spPr>
        <p:txBody>
          <a:bodyPr>
            <a:normAutofit/>
          </a:bodyPr>
          <a:lstStyle>
            <a:lvl1pPr>
              <a:defRPr sz="19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009" y="935772"/>
            <a:ext cx="8385999" cy="3876365"/>
          </a:xfrm>
        </p:spPr>
        <p:txBody>
          <a:bodyPr>
            <a:normAutofit/>
          </a:bodyPr>
          <a:lstStyle>
            <a:lvl1pPr marL="165490" indent="-165490">
              <a:buClr>
                <a:srgbClr val="830051"/>
              </a:buCl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811713"/>
            <a:ext cx="2057400" cy="274637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811713"/>
            <a:ext cx="3086100" cy="274637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2325" y="4843463"/>
            <a:ext cx="471488" cy="2111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D9E492-D157-4C61-A4AC-91372364ABF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7200579"/>
      </p:ext>
    </p:extLst>
  </p:cSld>
  <p:clrMapOvr>
    <a:masterClrMapping/>
  </p:clrMapOvr>
  <p:transition>
    <p:pull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4694" y="468082"/>
            <a:ext cx="6683765" cy="96066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41909" y="1600200"/>
            <a:ext cx="6686550" cy="283321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3141" y="53578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47013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023156"/>
              </p:ext>
            </p:extLst>
          </p:nvPr>
        </p:nvGraphicFramePr>
        <p:xfrm>
          <a:off x="1588" y="1192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30784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1248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981636"/>
              </p:ext>
            </p:extLst>
          </p:nvPr>
        </p:nvGraphicFramePr>
        <p:xfrm>
          <a:off x="1588" y="1192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062" y="-233422"/>
            <a:ext cx="8483878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69561B3-FAB2-4007-AA76-CB3C394BF358}"/>
              </a:ext>
            </a:extLst>
          </p:cNvPr>
          <p:cNvSpPr/>
          <p:nvPr userDrawn="1"/>
        </p:nvSpPr>
        <p:spPr>
          <a:xfrm>
            <a:off x="330061" y="1007535"/>
            <a:ext cx="2088000" cy="3291576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algn="ctr"/>
            <a:endParaRPr lang="en-GB" sz="2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A4D07B5-566E-4515-A5A8-F79198E694C5}"/>
              </a:ext>
            </a:extLst>
          </p:cNvPr>
          <p:cNvSpPr/>
          <p:nvPr userDrawn="1"/>
        </p:nvSpPr>
        <p:spPr>
          <a:xfrm>
            <a:off x="2462019" y="1007535"/>
            <a:ext cx="2088000" cy="3291576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algn="ctr"/>
            <a:endParaRPr lang="en-GB" sz="22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D7A9EE-EB0D-41F0-BCC1-E88FB072D8BE}"/>
              </a:ext>
            </a:extLst>
          </p:cNvPr>
          <p:cNvSpPr/>
          <p:nvPr userDrawn="1"/>
        </p:nvSpPr>
        <p:spPr>
          <a:xfrm>
            <a:off x="4593979" y="1007535"/>
            <a:ext cx="2088000" cy="3291576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algn="ctr"/>
            <a:endParaRPr lang="en-GB" sz="2200" dirty="0"/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id="{28D66816-F49F-420A-80B8-A5B5C3BEE0E3}"/>
              </a:ext>
            </a:extLst>
          </p:cNvPr>
          <p:cNvSpPr/>
          <p:nvPr userDrawn="1"/>
        </p:nvSpPr>
        <p:spPr>
          <a:xfrm>
            <a:off x="2462020" y="799762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marL="0" marR="0" lvl="0" indent="0" algn="ctr" defTabSz="8162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Заделы региона</a:t>
            </a:r>
            <a:endParaRPr lang="en-GB" sz="1000" b="1" dirty="0"/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id="{E07FA0D0-FDD0-4377-9DB0-F3CBAE70D70D}"/>
              </a:ext>
            </a:extLst>
          </p:cNvPr>
          <p:cNvSpPr/>
          <p:nvPr userDrawn="1"/>
        </p:nvSpPr>
        <p:spPr>
          <a:xfrm>
            <a:off x="4593979" y="799670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marL="0" marR="0" lvl="0" indent="0" algn="ctr" defTabSz="8162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Тренды отрасли</a:t>
            </a:r>
            <a:endParaRPr lang="en-GB" sz="100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07C60D1-80B4-41DB-AA21-2CE360D541FC}"/>
              </a:ext>
            </a:extLst>
          </p:cNvPr>
          <p:cNvSpPr txBox="1"/>
          <p:nvPr userDrawn="1"/>
        </p:nvSpPr>
        <p:spPr>
          <a:xfrm>
            <a:off x="330061" y="1111678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1.1. Ключевые показател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9BDAA5-0D55-4965-BE80-611BCDD35943}"/>
              </a:ext>
            </a:extLst>
          </p:cNvPr>
          <p:cNvSpPr txBox="1"/>
          <p:nvPr userDrawn="1"/>
        </p:nvSpPr>
        <p:spPr>
          <a:xfrm>
            <a:off x="330061" y="2773660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1.2. Связанные отрасл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730E44A-F6BB-417D-9524-7882D765A5A3}"/>
              </a:ext>
            </a:extLst>
          </p:cNvPr>
          <p:cNvSpPr txBox="1"/>
          <p:nvPr userDrawn="1"/>
        </p:nvSpPr>
        <p:spPr>
          <a:xfrm>
            <a:off x="2462019" y="1111677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</a:rPr>
              <a:t>2.1. Топ</a:t>
            </a:r>
            <a:r>
              <a:rPr lang="en-US" sz="900" b="1" dirty="0">
                <a:solidFill>
                  <a:schemeClr val="bg1"/>
                </a:solidFill>
              </a:rPr>
              <a:t>-5 </a:t>
            </a:r>
            <a:r>
              <a:rPr lang="ru-RU" sz="900" b="1" dirty="0">
                <a:solidFill>
                  <a:schemeClr val="bg1"/>
                </a:solidFill>
              </a:rPr>
              <a:t>орг-ий </a:t>
            </a:r>
            <a:r>
              <a:rPr lang="en-GB" sz="900" b="1" dirty="0">
                <a:solidFill>
                  <a:schemeClr val="bg1"/>
                </a:solidFill>
              </a:rPr>
              <a:t>(&gt;50 </a:t>
            </a:r>
            <a:r>
              <a:rPr lang="ru-RU" sz="900" b="1" dirty="0">
                <a:solidFill>
                  <a:schemeClr val="bg1"/>
                </a:solidFill>
              </a:rPr>
              <a:t>млн р.):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129677F-9541-4B58-A994-7789B4A2D903}"/>
              </a:ext>
            </a:extLst>
          </p:cNvPr>
          <p:cNvSpPr txBox="1"/>
          <p:nvPr userDrawn="1"/>
        </p:nvSpPr>
        <p:spPr>
          <a:xfrm>
            <a:off x="2462019" y="2060609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</a:rPr>
              <a:t>2.2 Ключевые продукты: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3A38C1-819E-442D-A981-F92095CDDB04}"/>
              </a:ext>
            </a:extLst>
          </p:cNvPr>
          <p:cNvSpPr/>
          <p:nvPr userDrawn="1"/>
        </p:nvSpPr>
        <p:spPr>
          <a:xfrm>
            <a:off x="6725938" y="1007535"/>
            <a:ext cx="2088000" cy="3291576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algn="ctr"/>
            <a:endParaRPr lang="en-GB" sz="22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43D717-5750-4A50-B80D-EB8ED5949210}"/>
              </a:ext>
            </a:extLst>
          </p:cNvPr>
          <p:cNvSpPr txBox="1"/>
          <p:nvPr userDrawn="1"/>
        </p:nvSpPr>
        <p:spPr>
          <a:xfrm>
            <a:off x="2462019" y="2773659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</a:rPr>
              <a:t>2.3. Ресурсы: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id="{2CE9C76C-303A-4ECD-AB51-5A64A2D19385}"/>
              </a:ext>
            </a:extLst>
          </p:cNvPr>
          <p:cNvSpPr/>
          <p:nvPr userDrawn="1"/>
        </p:nvSpPr>
        <p:spPr>
          <a:xfrm>
            <a:off x="6725938" y="799670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0686" tIns="29154" rIns="0" bIns="29154" rtlCol="0" anchor="ctr"/>
          <a:lstStyle/>
          <a:p>
            <a:pPr marL="0" marR="0" lvl="0" indent="0" algn="ctr" defTabSz="8162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Возможности локализации</a:t>
            </a:r>
            <a:endParaRPr lang="en-GB" sz="100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F8E3F3-6914-4270-A0AD-5B44F5087B00}"/>
              </a:ext>
            </a:extLst>
          </p:cNvPr>
          <p:cNvSpPr txBox="1"/>
          <p:nvPr userDrawn="1"/>
        </p:nvSpPr>
        <p:spPr>
          <a:xfrm>
            <a:off x="4593979" y="1111677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3.1. Мировые тренды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A82D6EF-2EED-4E6B-9790-BCCC79355A2C}"/>
              </a:ext>
            </a:extLst>
          </p:cNvPr>
          <p:cNvSpPr txBox="1"/>
          <p:nvPr userDrawn="1"/>
        </p:nvSpPr>
        <p:spPr>
          <a:xfrm>
            <a:off x="4610960" y="1267548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900" dirty="0"/>
              <a:t>Новые продукты:</a:t>
            </a:r>
            <a:endParaRPr lang="en-GB" sz="9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0FD6F12-9AEB-4391-8B05-E135DF74E141}"/>
              </a:ext>
            </a:extLst>
          </p:cNvPr>
          <p:cNvSpPr txBox="1"/>
          <p:nvPr userDrawn="1"/>
        </p:nvSpPr>
        <p:spPr>
          <a:xfrm>
            <a:off x="4593979" y="2773660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3.2. Российские тренды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0BB5A7-D2F0-4F40-9674-C0964C6B2F38}"/>
              </a:ext>
            </a:extLst>
          </p:cNvPr>
          <p:cNvSpPr txBox="1"/>
          <p:nvPr userDrawn="1"/>
        </p:nvSpPr>
        <p:spPr>
          <a:xfrm>
            <a:off x="340221" y="1267549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900" dirty="0"/>
              <a:t>Производство</a:t>
            </a:r>
            <a:r>
              <a:rPr lang="en-US" sz="900" dirty="0"/>
              <a:t> (2017)</a:t>
            </a:r>
            <a:r>
              <a:rPr lang="ru-RU" sz="900" dirty="0"/>
              <a:t>, млрд руб.</a:t>
            </a:r>
            <a:endParaRPr lang="en-GB" sz="9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9A42B93-B43E-4E6C-9BCB-19E1E4AC32F9}"/>
              </a:ext>
            </a:extLst>
          </p:cNvPr>
          <p:cNvSpPr txBox="1"/>
          <p:nvPr userDrawn="1"/>
        </p:nvSpPr>
        <p:spPr>
          <a:xfrm>
            <a:off x="340221" y="2060610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Рабочие места</a:t>
            </a:r>
            <a:r>
              <a:rPr lang="en-US" sz="900" dirty="0"/>
              <a:t> (2017)</a:t>
            </a:r>
            <a:r>
              <a:rPr lang="ru-RU" sz="900" dirty="0"/>
              <a:t>, тыс. ед.</a:t>
            </a:r>
            <a:endParaRPr lang="en-GB" sz="9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1BFC6ED-6182-4E41-A5B6-EDDFF2D60AFD}"/>
              </a:ext>
            </a:extLst>
          </p:cNvPr>
          <p:cNvSpPr txBox="1"/>
          <p:nvPr userDrawn="1"/>
        </p:nvSpPr>
        <p:spPr>
          <a:xfrm>
            <a:off x="2479003" y="1267549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900" dirty="0"/>
              <a:t>Выручка (2017), млрд руб.</a:t>
            </a:r>
            <a:endParaRPr lang="en-GB" sz="9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5D1950D-F894-4DB3-8841-B2BF9C42394E}"/>
              </a:ext>
            </a:extLst>
          </p:cNvPr>
          <p:cNvSpPr txBox="1"/>
          <p:nvPr userDrawn="1"/>
        </p:nvSpPr>
        <p:spPr>
          <a:xfrm>
            <a:off x="2479003" y="2940426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Природные ресурсы:</a:t>
            </a:r>
            <a:endParaRPr lang="en-GB" sz="9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C613A2-75F8-406E-92EC-012D7FA1560C}"/>
              </a:ext>
            </a:extLst>
          </p:cNvPr>
          <p:cNvSpPr txBox="1"/>
          <p:nvPr userDrawn="1"/>
        </p:nvSpPr>
        <p:spPr>
          <a:xfrm>
            <a:off x="2479003" y="3606529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Человеческий потенциал:</a:t>
            </a:r>
            <a:endParaRPr lang="en-GB" sz="9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1EE9890-4137-4E49-A9D1-85B3FFA0F215}"/>
              </a:ext>
            </a:extLst>
          </p:cNvPr>
          <p:cNvSpPr txBox="1"/>
          <p:nvPr userDrawn="1"/>
        </p:nvSpPr>
        <p:spPr>
          <a:xfrm>
            <a:off x="4610960" y="2055920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Растущие рынки:</a:t>
            </a:r>
            <a:endParaRPr lang="en-GB" sz="9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F330712-B427-4B6B-981D-7018632ED74E}"/>
              </a:ext>
            </a:extLst>
          </p:cNvPr>
          <p:cNvSpPr txBox="1"/>
          <p:nvPr userDrawn="1"/>
        </p:nvSpPr>
        <p:spPr>
          <a:xfrm>
            <a:off x="4610963" y="2940426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Госполитика:</a:t>
            </a:r>
            <a:endParaRPr lang="en-GB" sz="9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0CF2BA5-FBF5-449A-86A7-041D489918C1}"/>
              </a:ext>
            </a:extLst>
          </p:cNvPr>
          <p:cNvSpPr txBox="1"/>
          <p:nvPr userDrawn="1"/>
        </p:nvSpPr>
        <p:spPr>
          <a:xfrm>
            <a:off x="4610963" y="3606529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Импортозамещение:</a:t>
            </a:r>
            <a:endParaRPr lang="en-GB" sz="900" dirty="0"/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62018" y="2220102"/>
            <a:ext cx="2056342" cy="516401"/>
          </a:xfrm>
          <a:prstGeom prst="rect">
            <a:avLst/>
          </a:prstGeom>
        </p:spPr>
        <p:txBody>
          <a:bodyPr lIns="34433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305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477850" y="3074656"/>
            <a:ext cx="2056342" cy="516401"/>
          </a:xfrm>
          <a:prstGeom prst="rect">
            <a:avLst/>
          </a:prstGeom>
        </p:spPr>
        <p:txBody>
          <a:bodyPr lIns="34433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305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04137" y="3074656"/>
            <a:ext cx="2046185" cy="516401"/>
          </a:xfrm>
          <a:prstGeom prst="rect">
            <a:avLst/>
          </a:prstGeom>
        </p:spPr>
        <p:txBody>
          <a:bodyPr lIns="34433" tIns="0" rIns="0" bIns="0"/>
          <a:lstStyle>
            <a:lvl1pPr marL="0" indent="321697">
              <a:lnSpc>
                <a:spcPct val="100000"/>
              </a:lnSpc>
              <a:defRPr lang="en-GB" sz="900" dirty="0"/>
            </a:lvl1pPr>
          </a:lstStyle>
          <a:p>
            <a:pPr marL="0" lvl="0" indent="157305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477846" y="3737419"/>
            <a:ext cx="2056342" cy="516401"/>
          </a:xfrm>
          <a:prstGeom prst="rect">
            <a:avLst/>
          </a:prstGeom>
        </p:spPr>
        <p:txBody>
          <a:bodyPr lIns="34433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305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593976" y="3737419"/>
            <a:ext cx="2056342" cy="516401"/>
          </a:xfrm>
          <a:prstGeom prst="rect">
            <a:avLst/>
          </a:prstGeom>
        </p:spPr>
        <p:txBody>
          <a:bodyPr lIns="34433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305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93980" y="1412569"/>
            <a:ext cx="2056342" cy="592000"/>
          </a:xfrm>
          <a:prstGeom prst="rect">
            <a:avLst/>
          </a:prstGeom>
        </p:spPr>
        <p:txBody>
          <a:bodyPr lIns="34433" tIns="0" rIns="0" bIns="0"/>
          <a:lstStyle>
            <a:lvl1pPr marL="0" indent="157305">
              <a:lnSpc>
                <a:spcPct val="100000"/>
              </a:lnSpc>
              <a:spcBef>
                <a:spcPts val="0"/>
              </a:spcBef>
              <a:defRPr sz="9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3976" y="2220102"/>
            <a:ext cx="2056342" cy="516401"/>
          </a:xfrm>
          <a:prstGeom prst="rect">
            <a:avLst/>
          </a:prstGeom>
        </p:spPr>
        <p:txBody>
          <a:bodyPr lIns="34433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305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E7FEB27-E06D-47F5-9333-9F056D8F0E48}"/>
              </a:ext>
            </a:extLst>
          </p:cNvPr>
          <p:cNvSpPr txBox="1"/>
          <p:nvPr userDrawn="1"/>
        </p:nvSpPr>
        <p:spPr>
          <a:xfrm>
            <a:off x="340221" y="2940426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Отрасли-поставщики:</a:t>
            </a:r>
            <a:endParaRPr lang="en-GB" sz="9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3825005-436C-4545-B4D0-8BC4E59424E8}"/>
              </a:ext>
            </a:extLst>
          </p:cNvPr>
          <p:cNvSpPr txBox="1"/>
          <p:nvPr userDrawn="1"/>
        </p:nvSpPr>
        <p:spPr>
          <a:xfrm>
            <a:off x="340221" y="3606529"/>
            <a:ext cx="1980000" cy="1384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900" dirty="0"/>
              <a:t>Отрасли-потребители:</a:t>
            </a:r>
            <a:endParaRPr lang="en-GB" sz="900" dirty="0"/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0221" y="3074656"/>
            <a:ext cx="2056342" cy="516401"/>
          </a:xfrm>
          <a:prstGeom prst="rect">
            <a:avLst/>
          </a:prstGeom>
        </p:spPr>
        <p:txBody>
          <a:bodyPr lIns="34433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305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0221" y="3737419"/>
            <a:ext cx="2056342" cy="516401"/>
          </a:xfrm>
          <a:prstGeom prst="rect">
            <a:avLst/>
          </a:prstGeom>
        </p:spPr>
        <p:txBody>
          <a:bodyPr lIns="34433" tIns="0" rIns="0" bIns="0"/>
          <a:lstStyle>
            <a:lvl1pPr>
              <a:lnSpc>
                <a:spcPct val="100000"/>
              </a:lnSpc>
              <a:defRPr lang="en-GB" sz="900" dirty="0"/>
            </a:lvl1pPr>
          </a:lstStyle>
          <a:p>
            <a:pPr marL="0" lvl="0" indent="157305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887BA7B-DADA-4596-BECC-AF78E98BF3BE}"/>
              </a:ext>
            </a:extLst>
          </p:cNvPr>
          <p:cNvSpPr txBox="1"/>
          <p:nvPr userDrawn="1"/>
        </p:nvSpPr>
        <p:spPr>
          <a:xfrm>
            <a:off x="6725938" y="1111676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1. Поставщик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5F63E86-66DE-4D60-B813-3603572FE3D1}"/>
              </a:ext>
            </a:extLst>
          </p:cNvPr>
          <p:cNvSpPr txBox="1"/>
          <p:nvPr userDrawn="1"/>
        </p:nvSpPr>
        <p:spPr>
          <a:xfrm>
            <a:off x="6725938" y="2055920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2. Потребители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662233C-22F4-4829-B590-005DCCDC3D73}"/>
              </a:ext>
            </a:extLst>
          </p:cNvPr>
          <p:cNvSpPr txBox="1"/>
          <p:nvPr userDrawn="1"/>
        </p:nvSpPr>
        <p:spPr>
          <a:xfrm>
            <a:off x="6725938" y="2767301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3. Ремонт/монтаж оборуд-ия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5AA4475-76ED-4B98-A801-B2D8B68A51C1}"/>
              </a:ext>
            </a:extLst>
          </p:cNvPr>
          <p:cNvSpPr txBox="1"/>
          <p:nvPr userDrawn="1"/>
        </p:nvSpPr>
        <p:spPr>
          <a:xfrm>
            <a:off x="6725938" y="3606529"/>
            <a:ext cx="2052000" cy="138499"/>
          </a:xfrm>
          <a:prstGeom prst="rect">
            <a:avLst/>
          </a:prstGeom>
          <a:solidFill>
            <a:schemeClr val="tx1"/>
          </a:solidFill>
        </p:spPr>
        <p:txBody>
          <a:bodyPr wrap="square" lIns="48206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900" dirty="0">
                <a:solidFill>
                  <a:schemeClr val="bg1"/>
                </a:solidFill>
              </a:rPr>
              <a:t>4.4. Новые продукты: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25938" y="1267549"/>
            <a:ext cx="2056342" cy="737021"/>
          </a:xfrm>
          <a:prstGeom prst="rect">
            <a:avLst/>
          </a:prstGeom>
          <a:noFill/>
        </p:spPr>
        <p:txBody>
          <a:bodyPr lIns="34433" tIns="0" rIns="0" bIns="0"/>
          <a:lstStyle>
            <a:lvl1pPr marL="0" indent="157305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25938" y="2220099"/>
            <a:ext cx="2056342" cy="531728"/>
          </a:xfrm>
          <a:prstGeom prst="rect">
            <a:avLst/>
          </a:prstGeom>
          <a:noFill/>
        </p:spPr>
        <p:txBody>
          <a:bodyPr lIns="34433" tIns="0" rIns="0" bIns="0"/>
          <a:lstStyle>
            <a:lvl1pPr marL="0" indent="157305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25938" y="2940426"/>
            <a:ext cx="2056342" cy="650631"/>
          </a:xfrm>
          <a:prstGeom prst="rect">
            <a:avLst/>
          </a:prstGeom>
          <a:noFill/>
        </p:spPr>
        <p:txBody>
          <a:bodyPr lIns="34433" tIns="0" rIns="0" bIns="0"/>
          <a:lstStyle>
            <a:lvl1pPr marL="0" indent="157305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25938" y="3737419"/>
            <a:ext cx="2056342" cy="516401"/>
          </a:xfrm>
          <a:prstGeom prst="rect">
            <a:avLst/>
          </a:prstGeom>
          <a:noFill/>
        </p:spPr>
        <p:txBody>
          <a:bodyPr lIns="34433" tIns="0" rIns="0" bIns="0"/>
          <a:lstStyle>
            <a:lvl1pPr marL="0" indent="157305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2F6412C7-FD96-4EFD-822B-771200689979}"/>
              </a:ext>
            </a:extLst>
          </p:cNvPr>
          <p:cNvSpPr/>
          <p:nvPr userDrawn="1"/>
        </p:nvSpPr>
        <p:spPr>
          <a:xfrm flipV="1">
            <a:off x="340221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algn="ctr"/>
            <a:endParaRPr lang="en-GB" sz="2200" dirty="0"/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B5278AAB-3F83-4C84-9057-FA1E13AFC460}"/>
              </a:ext>
            </a:extLst>
          </p:cNvPr>
          <p:cNvSpPr/>
          <p:nvPr userDrawn="1"/>
        </p:nvSpPr>
        <p:spPr>
          <a:xfrm flipV="1">
            <a:off x="2472180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algn="ctr"/>
            <a:endParaRPr lang="en-GB" sz="2200" dirty="0"/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A8F6E8FC-73F1-4F6A-B56B-78899C24163F}"/>
              </a:ext>
            </a:extLst>
          </p:cNvPr>
          <p:cNvSpPr/>
          <p:nvPr userDrawn="1"/>
        </p:nvSpPr>
        <p:spPr>
          <a:xfrm flipV="1">
            <a:off x="4604139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algn="ctr"/>
            <a:endParaRPr lang="en-GB" sz="2200" dirty="0"/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id="{FE4994C9-346B-42EC-B400-578C5F625FA2}"/>
              </a:ext>
            </a:extLst>
          </p:cNvPr>
          <p:cNvSpPr/>
          <p:nvPr userDrawn="1"/>
        </p:nvSpPr>
        <p:spPr>
          <a:xfrm flipV="1">
            <a:off x="6736098" y="4322458"/>
            <a:ext cx="2077840" cy="7772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algn="ctr"/>
            <a:endParaRPr lang="en-GB" sz="2200" dirty="0"/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4394" y="4432324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33" tIns="0" rIns="0" bIns="0"/>
          <a:lstStyle>
            <a:lvl1pPr marL="0" indent="157305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58243" y="4432324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33" tIns="0" rIns="0" bIns="0"/>
          <a:lstStyle>
            <a:lvl1pPr marL="0" indent="157305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92092" y="4432324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33" tIns="0" rIns="0" bIns="0"/>
          <a:lstStyle>
            <a:lvl1pPr marL="0" indent="157305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25941" y="4432324"/>
            <a:ext cx="2087999" cy="516401"/>
          </a:xfrm>
          <a:prstGeom prst="rect">
            <a:avLst/>
          </a:prstGeom>
          <a:solidFill>
            <a:schemeClr val="accent6"/>
          </a:solidFill>
        </p:spPr>
        <p:txBody>
          <a:bodyPr lIns="34433" tIns="0" rIns="0" bIns="0"/>
          <a:lstStyle>
            <a:lvl1pPr marL="0" marR="0" indent="157305" algn="l" defTabSz="8162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marL="0" marR="0" lvl="0" indent="157305" algn="l" defTabSz="8162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id="{0ADF419E-11AE-42C5-9126-38E2537E8FE1}"/>
              </a:ext>
            </a:extLst>
          </p:cNvPr>
          <p:cNvSpPr/>
          <p:nvPr userDrawn="1"/>
        </p:nvSpPr>
        <p:spPr>
          <a:xfrm>
            <a:off x="330061" y="799670"/>
            <a:ext cx="2088000" cy="27573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306" tIns="29154" rIns="58306" bIns="29154" rtlCol="0" anchor="ctr"/>
          <a:lstStyle/>
          <a:p>
            <a:pPr marL="0" marR="0" lvl="0" indent="0" algn="ctr" defTabSz="8162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/>
              <a:t>Описание отрасли</a:t>
            </a:r>
            <a:endParaRPr lang="en-GB" sz="1000" b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2431540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2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4563499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3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299581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1</a:t>
            </a:r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6695458" y="731942"/>
            <a:ext cx="180000" cy="135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4</a:t>
            </a:r>
            <a:endParaRPr lang="en-GB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239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2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30784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7703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2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30784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8863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2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30784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0624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1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0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1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02458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2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230784"/>
            <a:ext cx="7886700" cy="108029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921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06506"/>
              </p:ext>
            </p:extLst>
          </p:nvPr>
        </p:nvGraphicFramePr>
        <p:xfrm>
          <a:off x="1193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6" name="think-cell Slide" r:id="rId5" imgW="347" imgH="348" progId="">
                  <p:embed/>
                </p:oleObj>
              </mc:Choice>
              <mc:Fallback>
                <p:oleObj name="think-cell Slide" r:id="rId5" imgW="347" imgH="348" progId="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192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44405F-DE0C-4185-B568-DD1FB5DA5FC4}"/>
              </a:ext>
            </a:extLst>
          </p:cNvPr>
          <p:cNvSpPr txBox="1"/>
          <p:nvPr userDrawn="1"/>
        </p:nvSpPr>
        <p:spPr>
          <a:xfrm>
            <a:off x="317898" y="135733"/>
            <a:ext cx="8508206" cy="5702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160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896" y="145817"/>
            <a:ext cx="8508206" cy="594000"/>
          </a:xfrm>
        </p:spPr>
        <p:txBody>
          <a:bodyPr lIns="0" tIns="0" rIns="0" bIns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860762"/>
            <a:ext cx="2057400" cy="273844"/>
          </a:xfrm>
          <a:prstGeom prst="rect">
            <a:avLst/>
          </a:prstGeom>
        </p:spPr>
        <p:txBody>
          <a:bodyPr vert="horz" lIns="58306" tIns="29154" rIns="58306" bIns="29154" rtlCol="0" anchor="ctr"/>
          <a:lstStyle>
            <a:lvl1pPr algn="r">
              <a:defRPr sz="11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7500" y="971551"/>
            <a:ext cx="8605838" cy="2526506"/>
          </a:xfrm>
        </p:spPr>
        <p:txBody>
          <a:bodyPr>
            <a:normAutofit/>
          </a:bodyPr>
          <a:lstStyle>
            <a:lvl1pPr>
              <a:defRPr sz="2100"/>
            </a:lvl1pPr>
            <a:lvl2pPr marL="612216" indent="-204072">
              <a:buFont typeface="Arial" panose="020B0604020202020204" pitchFamily="34" charset="0"/>
              <a:buChar char="−"/>
              <a:defRPr sz="1800"/>
            </a:lvl2pPr>
            <a:lvl3pPr marL="1020360" indent="-204072">
              <a:buFont typeface="Wingdings" panose="05000000000000000000" pitchFamily="2" charset="2"/>
              <a:buChar char="§"/>
              <a:defRPr sz="1600"/>
            </a:lvl3pPr>
            <a:lvl4pPr marL="1428503" indent="-204072">
              <a:buFont typeface="Courier New" panose="02070309020205020404" pitchFamily="49" charset="0"/>
              <a:buChar char="o"/>
              <a:defRPr sz="1400"/>
            </a:lvl4pPr>
            <a:lvl5pPr marL="1836647" indent="-204072">
              <a:buFont typeface="Wingdings" panose="05000000000000000000" pitchFamily="2" charset="2"/>
              <a:buChar char="ü"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6806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5367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91504" fontAlgn="auto">
              <a:lnSpc>
                <a:spcPct val="90000"/>
              </a:lnSpc>
              <a:defRPr/>
            </a:pPr>
            <a:endParaRPr lang="en-US" sz="39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9" y="1588"/>
          <a:ext cx="1587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1" y="0"/>
            <a:ext cx="112713" cy="841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9150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9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0920753"/>
      </p:ext>
    </p:extLst>
  </p:cSld>
  <p:clrMapOvr>
    <a:masterClrMapping/>
  </p:clrMapOvr>
  <p:transition>
    <p:pull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910" y="1544063"/>
            <a:ext cx="6686549" cy="1101600"/>
          </a:xfrm>
        </p:spPr>
        <p:txBody>
          <a:bodyPr anchor="b"/>
          <a:lstStyle>
            <a:lvl1pPr algn="l">
              <a:defRPr sz="30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41910" y="2647597"/>
            <a:ext cx="6686549" cy="645300"/>
          </a:xfrm>
        </p:spPr>
        <p:txBody>
          <a:bodyPr anchor="t"/>
          <a:lstStyle>
            <a:lvl1pPr marL="0" indent="0" algn="l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3141" y="238363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8860" y="2433105"/>
            <a:ext cx="584825" cy="273844"/>
          </a:xfrm>
        </p:spPr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1043176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41909" y="1600200"/>
            <a:ext cx="3235398" cy="28332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3060" y="1594666"/>
            <a:ext cx="3235398" cy="28332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3141" y="53578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8860" y="590837"/>
            <a:ext cx="584825" cy="273844"/>
          </a:xfrm>
        </p:spPr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60884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04530" y="1479527"/>
            <a:ext cx="2994549" cy="432197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941909" y="1911725"/>
            <a:ext cx="3257170" cy="2515545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29972" y="1477106"/>
            <a:ext cx="2999251" cy="432197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375218" y="1909304"/>
            <a:ext cx="3254006" cy="2515545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3141" y="53578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8860" y="590837"/>
            <a:ext cx="584825" cy="273844"/>
          </a:xfrm>
        </p:spPr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527409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3141" y="53578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6525371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3141" y="53578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8607907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910" y="334566"/>
            <a:ext cx="2628899" cy="73223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2259" y="334567"/>
            <a:ext cx="3886200" cy="4061222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910" y="1198960"/>
            <a:ext cx="2628899" cy="319682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3141" y="535782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161352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910" y="3600450"/>
            <a:ext cx="6686550" cy="425054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941909" y="476224"/>
            <a:ext cx="6686550" cy="2891228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910" y="4025504"/>
            <a:ext cx="6686550" cy="370284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3141" y="3683794"/>
            <a:ext cx="1191395" cy="380473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98860" y="3737316"/>
            <a:ext cx="584825" cy="273844"/>
          </a:xfrm>
        </p:spPr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430369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171450"/>
            <a:ext cx="2138637" cy="4978971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0416" y="-589"/>
            <a:ext cx="1767506" cy="514052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37160" cy="51435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44694" y="468082"/>
            <a:ext cx="6683765" cy="9606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41909" y="1600200"/>
            <a:ext cx="6686550" cy="2914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71210" y="4597828"/>
            <a:ext cx="859712" cy="2777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711CE6-3860-463A-9F15-29AE683C5FE5}" type="datetime1">
              <a:rPr lang="en-US" smtClean="0"/>
              <a:pPr/>
              <a:t>5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41910" y="4601856"/>
            <a:ext cx="571499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398860" y="590837"/>
            <a:ext cx="58482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rgbClr val="FEFFFF"/>
                </a:solidFill>
              </a:defRPr>
            </a:lvl1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36" name="Object 6" hidden="1">
            <a:extLst>
              <a:ext uri="{FF2B5EF4-FFF2-40B4-BE49-F238E27FC236}">
                <a16:creationId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291632308"/>
              </p:ext>
            </p:extLst>
          </p:nvPr>
        </p:nvGraphicFramePr>
        <p:xfrm>
          <a:off x="1588" y="1192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4"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36" name="Object 6" hidden="1">
                        <a:extLst>
                          <a:ext uri="{FF2B5EF4-FFF2-40B4-BE49-F238E27FC236}">
                            <a16:creationId xmlns:a16="http://schemas.microsoft.com/office/drawing/2014/main" id="{3590EA2D-5BB2-461D-A7BC-35F89E83A5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7" hidden="1">
            <a:extLst>
              <a:ext uri="{FF2B5EF4-FFF2-40B4-BE49-F238E27FC236}">
                <a16:creationId xmlns:a16="http://schemas.microsoft.com/office/drawing/2014/main" id="{BAD41EC6-78D9-4512-B2AB-FBB941FA054C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1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11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  <p:sldLayoutId id="2147483868" r:id="rId16"/>
    <p:sldLayoutId id="2147483869" r:id="rId17"/>
    <p:sldLayoutId id="2147483871" r:id="rId18"/>
    <p:sldLayoutId id="2147483872" r:id="rId19"/>
    <p:sldLayoutId id="2147483650" r:id="rId20"/>
    <p:sldLayoutId id="2147483652" r:id="rId21"/>
    <p:sldLayoutId id="2147483683" r:id="rId22"/>
    <p:sldLayoutId id="2147483684" r:id="rId23"/>
    <p:sldLayoutId id="2147483685" r:id="rId24"/>
    <p:sldLayoutId id="2147483686" r:id="rId25"/>
    <p:sldLayoutId id="2147483690" r:id="rId26"/>
    <p:sldLayoutId id="2147483692" r:id="rId27"/>
    <p:sldLayoutId id="2147483694" r:id="rId28"/>
    <p:sldLayoutId id="2147483824" r:id="rId29"/>
  </p:sldLayoutIdLst>
  <p:hf hdr="0" ftr="0" dt="0"/>
  <p:txStyles>
    <p:titleStyle>
      <a:lvl1pPr algn="l" defTabSz="342900" rtl="0" eaLnBrk="1" latinLnBrk="0" hangingPunct="1">
        <a:spcBef>
          <a:spcPct val="0"/>
        </a:spcBef>
        <a:buNone/>
        <a:defRPr sz="27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57175" indent="-257175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Font typeface="Wingdings 3" charset="2"/>
        <a:buChar char="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Font typeface="Wingdings 3" charset="2"/>
        <a:buChar char="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Font typeface="Wingdings 3" charset="2"/>
        <a:buChar char="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Font typeface="Wingdings 3" charset="2"/>
        <a:buChar char="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Font typeface="Wingdings 3" charset="2"/>
        <a:buChar char="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Font typeface="Wingdings 3" charset="2"/>
        <a:buChar char="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Font typeface="Wingdings 3" charset="2"/>
        <a:buChar char="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Font typeface="Wingdings 3" charset="2"/>
        <a:buChar char="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5.jpeg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.xml"/><Relationship Id="rId9" Type="http://schemas.openxmlformats.org/officeDocument/2006/relationships/oleObject" Target="../embeddings/oleObject15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1.v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7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oleObject" Target="../embeddings/oleObject24.bin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3.vml"/><Relationship Id="rId6" Type="http://schemas.openxmlformats.org/officeDocument/2006/relationships/diagramData" Target="../diagrams/data6.xml"/><Relationship Id="rId5" Type="http://schemas.openxmlformats.org/officeDocument/2006/relationships/image" Target="../media/image7.png"/><Relationship Id="rId10" Type="http://schemas.microsoft.com/office/2007/relationships/diagramDrawing" Target="../diagrams/drawing6.xml"/><Relationship Id="rId4" Type="http://schemas.openxmlformats.org/officeDocument/2006/relationships/image" Target="../media/image4.emf"/><Relationship Id="rId9" Type="http://schemas.openxmlformats.org/officeDocument/2006/relationships/diagramColors" Target="../diagrams/colors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1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6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4.emf"/><Relationship Id="rId4" Type="http://schemas.openxmlformats.org/officeDocument/2006/relationships/diagramData" Target="../diagrams/data1.xml"/><Relationship Id="rId9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6.png"/><Relationship Id="rId5" Type="http://schemas.openxmlformats.org/officeDocument/2006/relationships/diagramLayout" Target="../diagrams/layout2.xml"/><Relationship Id="rId10" Type="http://schemas.openxmlformats.org/officeDocument/2006/relationships/image" Target="../media/image4.emf"/><Relationship Id="rId4" Type="http://schemas.openxmlformats.org/officeDocument/2006/relationships/diagramData" Target="../diagrams/data2.xml"/><Relationship Id="rId9" Type="http://schemas.openxmlformats.org/officeDocument/2006/relationships/oleObject" Target="../embeddings/oleObject1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8.v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6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chart" Target="../charts/chart1.xml"/><Relationship Id="rId4" Type="http://schemas.openxmlformats.org/officeDocument/2006/relationships/image" Target="../media/image4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20.v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Relationship Id="rId9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https://m.mba.ru/cambiodocs/media/files/2017_01_19_15_38_1200.jpg"/>
          <p:cNvPicPr>
            <a:picLocks noChangeAspect="1" noChangeArrowheads="1"/>
          </p:cNvPicPr>
          <p:nvPr/>
        </p:nvPicPr>
        <p:blipFill>
          <a:blip r:embed="rId5" cstate="print"/>
          <a:srcRect l="12611" r="12611"/>
          <a:stretch>
            <a:fillRect/>
          </a:stretch>
        </p:blipFill>
        <p:spPr bwMode="auto">
          <a:xfrm rot="356097">
            <a:off x="2274873" y="827265"/>
            <a:ext cx="5551991" cy="3888294"/>
          </a:xfrm>
          <a:prstGeom prst="rect">
            <a:avLst/>
          </a:prstGeom>
          <a:noFill/>
          <a:effectLst>
            <a:softEdge rad="1270000"/>
          </a:effec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C535AC-829C-423C-AAD6-A65EA3FAA4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919685"/>
              </p:ext>
            </p:extLst>
          </p:nvPr>
        </p:nvGraphicFramePr>
        <p:xfrm>
          <a:off x="1134" y="852"/>
          <a:ext cx="1134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2"/>
                        <a:ext cx="1134" cy="8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2226AE4-5AB7-4A6E-BD88-B2F1E2C0A8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13393" cy="850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 dirty="0"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24AAD0-360C-4519-AA67-886C13422A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23180" y="1360412"/>
            <a:ext cx="6460404" cy="3631763"/>
          </a:xfr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хнология модерации кризисных ситуаций в образовательном пространстве Забайкальского края </a:t>
            </a:r>
            <a:br>
              <a:rPr lang="ru-RU" sz="3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br>
              <a:rPr lang="ru-RU" sz="3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Педагог-психолог ГУ «Центр «Семья» </a:t>
            </a:r>
            <a:br>
              <a:rPr lang="ru-RU" sz="1200" b="1" dirty="0"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Д.Н. Петина</a:t>
            </a:r>
            <a:br>
              <a:rPr lang="ru-RU" sz="3200" b="1" dirty="0">
                <a:latin typeface="Times New Roman" pitchFamily="18" charset="0"/>
                <a:cs typeface="Times New Roman" pitchFamily="18" charset="0"/>
              </a:rPr>
            </a:br>
            <a:br>
              <a:rPr lang="ru-RU" sz="3200" b="1" dirty="0">
                <a:latin typeface="Times New Roman" pitchFamily="18" charset="0"/>
                <a:cs typeface="Times New Roman" pitchFamily="18" charset="0"/>
              </a:rPr>
            </a:br>
            <a:br>
              <a:rPr lang="ru-RU" sz="3200" dirty="0">
                <a:latin typeface="Times New Roman" pitchFamily="18" charset="0"/>
                <a:cs typeface="Times New Roman" pitchFamily="18" charset="0"/>
              </a:rPr>
            </a:b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7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BCA449DC-FBDE-40A7-A553-D4CBA1A502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9745" y="81661"/>
            <a:ext cx="548036" cy="651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16B435E-5A6E-4568-97C1-F77A3CEAC263}"/>
              </a:ext>
            </a:extLst>
          </p:cNvPr>
          <p:cNvSpPr txBox="1"/>
          <p:nvPr/>
        </p:nvSpPr>
        <p:spPr>
          <a:xfrm>
            <a:off x="919163" y="81660"/>
            <a:ext cx="699134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 образования и науки Забайкальского края</a:t>
            </a:r>
          </a:p>
          <a:p>
            <a:pPr algn="ctr"/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учреждение «Забайкальский краевой центр психолого-педагогической, медицинской и социальной помощи «Семья»»</a:t>
            </a:r>
            <a:b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9805772"/>
              </p:ext>
            </p:extLst>
          </p:nvPr>
        </p:nvGraphicFramePr>
        <p:xfrm>
          <a:off x="59419" y="81660"/>
          <a:ext cx="601021" cy="452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2" name="CorelDRAW" r:id="rId9" imgW="2120760" imgH="1596240" progId="">
                  <p:embed/>
                </p:oleObj>
              </mc:Choice>
              <mc:Fallback>
                <p:oleObj name="CorelDRAW" r:id="rId9" imgW="2120760" imgH="1596240" progId="">
                  <p:embed/>
                  <p:pic>
                    <p:nvPicPr>
                      <p:cNvPr id="13314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19" y="81660"/>
                        <a:ext cx="601021" cy="4525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407069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30294" y="129267"/>
            <a:ext cx="7310142" cy="581933"/>
          </a:xfrm>
        </p:spPr>
        <p:txBody>
          <a:bodyPr/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сложностей работы по Технологии</a:t>
            </a:r>
          </a:p>
        </p:txBody>
      </p:sp>
      <p:graphicFrame>
        <p:nvGraphicFramePr>
          <p:cNvPr id="8" name="Содержимое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78462481"/>
              </p:ext>
            </p:extLst>
          </p:nvPr>
        </p:nvGraphicFramePr>
        <p:xfrm>
          <a:off x="689372" y="930708"/>
          <a:ext cx="7812087" cy="40862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26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94062522"/>
              </p:ext>
            </p:extLst>
          </p:nvPr>
        </p:nvGraphicFramePr>
        <p:xfrm>
          <a:off x="0" y="0"/>
          <a:ext cx="689372" cy="519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2" name="CorelDRAW" r:id="rId8" imgW="2120760" imgH="1596240" progId="">
                  <p:embed/>
                </p:oleObj>
              </mc:Choice>
              <mc:Fallback>
                <p:oleObj name="CorelDRAW" r:id="rId8" imgW="2120760" imgH="1596240" progId="">
                  <p:embed/>
                  <p:pic>
                    <p:nvPicPr>
                      <p:cNvPr id="1026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689372" cy="5191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ttps://xn--80ahcwuhfo.xn--80aaaac8algcbgbck3fl0q.xn--p1ai/u/www/images/page/gerb_l_chita_oblast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638925" y="1"/>
            <a:ext cx="514120" cy="6096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31427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" descr="https://m.mba.ru/cambiodocs/media/files/2017_01_19_15_38_1200.jpg"/>
          <p:cNvPicPr>
            <a:picLocks noGrp="1" noChangeAspect="1" noChangeArrowheads="1"/>
          </p:cNvPicPr>
          <p:nvPr>
            <p:ph type="pic" idx="1"/>
          </p:nvPr>
        </p:nvPicPr>
        <p:blipFill>
          <a:blip r:embed="rId3" cstate="print"/>
          <a:srcRect l="12611" r="12611"/>
          <a:stretch>
            <a:fillRect/>
          </a:stretch>
        </p:blipFill>
        <p:spPr bwMode="auto">
          <a:xfrm rot="332816">
            <a:off x="4190407" y="721824"/>
            <a:ext cx="4362320" cy="3468981"/>
          </a:xfrm>
          <a:prstGeom prst="rect">
            <a:avLst/>
          </a:prstGeom>
          <a:noFill/>
          <a:effectLst>
            <a:softEdge rad="622300"/>
          </a:effectLst>
        </p:spPr>
      </p:pic>
      <p:sp>
        <p:nvSpPr>
          <p:cNvPr id="8" name="Текст 7"/>
          <p:cNvSpPr>
            <a:spLocks noGrp="1"/>
          </p:cNvSpPr>
          <p:nvPr>
            <p:ph type="body" sz="half" idx="2"/>
          </p:nvPr>
        </p:nvSpPr>
        <p:spPr>
          <a:xfrm>
            <a:off x="988923" y="895927"/>
            <a:ext cx="3314700" cy="3038764"/>
          </a:xfrm>
        </p:spPr>
        <p:txBody>
          <a:bodyPr>
            <a:normAutofit/>
          </a:bodyPr>
          <a:lstStyle/>
          <a:p>
            <a:pPr algn="ctr"/>
            <a:r>
              <a:rPr lang="ru-RU" sz="3000" b="1" dirty="0">
                <a:solidFill>
                  <a:schemeClr val="tx1"/>
                </a:solidFill>
                <a:latin typeface="Monotype Corsiva" pitchFamily="66" charset="0"/>
                <a:cs typeface="Times New Roman" pitchFamily="18" charset="0"/>
              </a:rPr>
              <a:t>Благодарю за внимание!</a:t>
            </a:r>
          </a:p>
          <a:p>
            <a:pPr algn="ctr"/>
            <a:endParaRPr lang="ru-RU" sz="3000" b="1" dirty="0">
              <a:solidFill>
                <a:schemeClr val="tx1"/>
              </a:solidFill>
              <a:latin typeface="Monotype Corsiva" pitchFamily="66" charset="0"/>
              <a:cs typeface="Times New Roman" pitchFamily="18" charset="0"/>
            </a:endParaRPr>
          </a:p>
          <a:p>
            <a:pPr algn="ctr"/>
            <a:endParaRPr lang="ru-RU" sz="3000" b="1" dirty="0">
              <a:solidFill>
                <a:schemeClr val="tx1"/>
              </a:solidFill>
              <a:latin typeface="Monotype Corsiva" pitchFamily="66" charset="0"/>
              <a:cs typeface="Times New Roman" pitchFamily="18" charset="0"/>
            </a:endParaRPr>
          </a:p>
          <a:p>
            <a:pPr algn="ctr"/>
            <a:r>
              <a:rPr lang="ru-RU" sz="3000" b="1" dirty="0">
                <a:solidFill>
                  <a:schemeClr val="tx1"/>
                </a:solidFill>
                <a:latin typeface="Monotype Corsiva" pitchFamily="66" charset="0"/>
                <a:cs typeface="Times New Roman" pitchFamily="18" charset="0"/>
              </a:rPr>
              <a:t>Готова к обсуждению</a:t>
            </a:r>
          </a:p>
        </p:txBody>
      </p:sp>
      <p:graphicFrame>
        <p:nvGraphicFramePr>
          <p:cNvPr id="1026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52930093"/>
              </p:ext>
            </p:extLst>
          </p:nvPr>
        </p:nvGraphicFramePr>
        <p:xfrm>
          <a:off x="71583" y="0"/>
          <a:ext cx="689372" cy="519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6" name="CorelDRAW" r:id="rId4" imgW="2120760" imgH="1596240" progId="">
                  <p:embed/>
                </p:oleObj>
              </mc:Choice>
              <mc:Fallback>
                <p:oleObj name="CorelDRAW" r:id="rId4" imgW="2120760" imgH="1596240" progId="">
                  <p:embed/>
                  <p:pic>
                    <p:nvPicPr>
                      <p:cNvPr id="1026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583" y="0"/>
                        <a:ext cx="689372" cy="5191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ttps://xn--80ahcwuhfo.xn--80aaaac8algcbgbck3fl0q.xn--p1ai/u/www/images/page/gerb_l_chita_oblast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580582" y="0"/>
            <a:ext cx="563418" cy="66805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75930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1"/>
          <p:cNvGraphicFramePr>
            <a:graphicFrameLocks noChangeAspect="1"/>
          </p:cNvGraphicFramePr>
          <p:nvPr/>
        </p:nvGraphicFramePr>
        <p:xfrm>
          <a:off x="0" y="0"/>
          <a:ext cx="689372" cy="519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7" name="CorelDRAW" r:id="rId3" imgW="2120760" imgH="1596240" progId="">
                  <p:embed/>
                </p:oleObj>
              </mc:Choice>
              <mc:Fallback>
                <p:oleObj name="CorelDRAW" r:id="rId3" imgW="2120760" imgH="1596240" progId="">
                  <p:embed/>
                  <p:pic>
                    <p:nvPicPr>
                      <p:cNvPr id="1026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689372" cy="5191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ttps://xn--80ahcwuhfo.xn--80aaaac8algcbgbck3fl0q.xn--p1ai/u/www/images/page/gerb_l_chita_oblast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638925" y="1"/>
            <a:ext cx="514120" cy="609600"/>
          </a:xfrm>
          <a:prstGeom prst="rect">
            <a:avLst/>
          </a:prstGeom>
          <a:noFill/>
        </p:spPr>
      </p:pic>
      <p:graphicFrame>
        <p:nvGraphicFramePr>
          <p:cNvPr id="11" name="Содержимое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9281758"/>
              </p:ext>
            </p:extLst>
          </p:nvPr>
        </p:nvGraphicFramePr>
        <p:xfrm>
          <a:off x="1234309" y="609601"/>
          <a:ext cx="6859680" cy="41948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495184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0519" y="194653"/>
            <a:ext cx="5944373" cy="369332"/>
          </a:xfrm>
        </p:spPr>
        <p:txBody>
          <a:bodyPr>
            <a:normAutofit fontScale="90000"/>
          </a:bodyPr>
          <a:lstStyle/>
          <a:p>
            <a:pPr algn="l"/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Я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8247063" y="848876"/>
            <a:ext cx="0" cy="3778687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D7C62716-E3E1-4AAC-9E5B-76964CF0C069}"/>
              </a:ext>
            </a:extLst>
          </p:cNvPr>
          <p:cNvSpPr txBox="1"/>
          <p:nvPr/>
        </p:nvSpPr>
        <p:spPr>
          <a:xfrm>
            <a:off x="426127" y="1399048"/>
            <a:ext cx="7480200" cy="2308324"/>
          </a:xfrm>
          <a:prstGeom prst="rect">
            <a:avLst/>
          </a:prstGeom>
          <a:solidFill>
            <a:schemeClr val="accent6">
              <a:lumMod val="20000"/>
              <a:lumOff val="80000"/>
              <a:alpha val="5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одерация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технология дистанционного сопровождения специалистов образования,  которая позволяет повысить эффективность решения кризисных ситуаций.</a:t>
            </a:r>
          </a:p>
          <a:p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изисная ситуация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обстоятельства чрезвычайного характера; любое отклонение от привычного режима функционирования системы или отдельного ее элемента, характеризующееся необходимостью принятия нестандартных решений, мобилизации профессионально-личностного потенциала сотрудников и наличием как отрицательных, так и положительных последствий.</a:t>
            </a:r>
          </a:p>
        </p:txBody>
      </p:sp>
      <p:graphicFrame>
        <p:nvGraphicFramePr>
          <p:cNvPr id="9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0733106"/>
              </p:ext>
            </p:extLst>
          </p:nvPr>
        </p:nvGraphicFramePr>
        <p:xfrm>
          <a:off x="59419" y="81660"/>
          <a:ext cx="601021" cy="452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3" name="CorelDRAW" r:id="rId3" imgW="2120760" imgH="1596240" progId="">
                  <p:embed/>
                </p:oleObj>
              </mc:Choice>
              <mc:Fallback>
                <p:oleObj name="CorelDRAW" r:id="rId3" imgW="2120760" imgH="1596240" progId="">
                  <p:embed/>
                  <p:pic>
                    <p:nvPicPr>
                      <p:cNvPr id="8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19" y="81660"/>
                        <a:ext cx="601021" cy="4525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50AD0AB3-DAF0-4E4A-A86B-93F737519F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9745" y="81661"/>
            <a:ext cx="548036" cy="651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4873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111122" y="272080"/>
            <a:ext cx="7973459" cy="314990"/>
          </a:xfrm>
          <a:prstGeom prst="rect">
            <a:avLst/>
          </a:prstGeom>
        </p:spPr>
        <p:txBody>
          <a:bodyPr vert="horz" wrap="square" lIns="0" tIns="7144" rIns="0" bIns="0" rtlCol="0">
            <a:spAutoFit/>
          </a:bodyPr>
          <a:lstStyle/>
          <a:p>
            <a:pPr lvl="0" algn="l"/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но-правовая регламентация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48BDC6BB-7831-4DFF-A5A3-43A019AB40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4026323"/>
              </p:ext>
            </p:extLst>
          </p:nvPr>
        </p:nvGraphicFramePr>
        <p:xfrm>
          <a:off x="378060" y="807420"/>
          <a:ext cx="8589819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4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0733106"/>
              </p:ext>
            </p:extLst>
          </p:nvPr>
        </p:nvGraphicFramePr>
        <p:xfrm>
          <a:off x="59419" y="81660"/>
          <a:ext cx="601021" cy="452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9" name="CorelDRAW" r:id="rId9" imgW="2120760" imgH="1596240" progId="">
                  <p:embed/>
                </p:oleObj>
              </mc:Choice>
              <mc:Fallback>
                <p:oleObj name="CorelDRAW" r:id="rId9" imgW="2120760" imgH="1596240" progId="">
                  <p:embed/>
                  <p:pic>
                    <p:nvPicPr>
                      <p:cNvPr id="8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19" y="81660"/>
                        <a:ext cx="601021" cy="4525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6F7B9F0B-86E3-48A7-BCC8-1B9742F60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9745" y="81661"/>
            <a:ext cx="548036" cy="651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12822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161472" y="307951"/>
            <a:ext cx="8194963" cy="339612"/>
          </a:xfrm>
          <a:prstGeom prst="rect">
            <a:avLst/>
          </a:prstGeom>
        </p:spPr>
        <p:txBody>
          <a:bodyPr vert="horz" wrap="square" lIns="0" tIns="7144" rIns="0" bIns="0" rtlCol="0">
            <a:spAutoFit/>
          </a:bodyPr>
          <a:lstStyle/>
          <a:p>
            <a:pPr lvl="0" algn="l">
              <a:lnSpc>
                <a:spcPct val="90000"/>
              </a:lnSpc>
            </a:pP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иентиры Технологии</a:t>
            </a: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CF36466F-6384-48BE-B81C-6439B67F0D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7395901"/>
              </p:ext>
            </p:extLst>
          </p:nvPr>
        </p:nvGraphicFramePr>
        <p:xfrm>
          <a:off x="196810" y="937491"/>
          <a:ext cx="8817881" cy="39225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5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0733106"/>
              </p:ext>
            </p:extLst>
          </p:nvPr>
        </p:nvGraphicFramePr>
        <p:xfrm>
          <a:off x="59419" y="81660"/>
          <a:ext cx="601021" cy="452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3" name="CorelDRAW" r:id="rId9" imgW="2120760" imgH="1596240" progId="">
                  <p:embed/>
                </p:oleObj>
              </mc:Choice>
              <mc:Fallback>
                <p:oleObj name="CorelDRAW" r:id="rId9" imgW="2120760" imgH="1596240" progId="">
                  <p:embed/>
                  <p:pic>
                    <p:nvPicPr>
                      <p:cNvPr id="8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19" y="81660"/>
                        <a:ext cx="601021" cy="4525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3F8D59C5-2E65-4E86-98DF-E53A3B94AA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9745" y="81661"/>
            <a:ext cx="548036" cy="651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218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Заголовок 30"/>
          <p:cNvSpPr>
            <a:spLocks noGrp="1"/>
          </p:cNvSpPr>
          <p:nvPr>
            <p:ph type="title"/>
          </p:nvPr>
        </p:nvSpPr>
        <p:spPr>
          <a:xfrm>
            <a:off x="162687" y="0"/>
            <a:ext cx="8418576" cy="492443"/>
          </a:xfrm>
        </p:spPr>
        <p:txBody>
          <a:bodyPr>
            <a:normAutofit fontScale="90000"/>
          </a:bodyPr>
          <a:lstStyle/>
          <a:p>
            <a:pPr algn="l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горитм работы по порядку Технологии</a:t>
            </a:r>
          </a:p>
        </p:txBody>
      </p:sp>
      <p:graphicFrame>
        <p:nvGraphicFramePr>
          <p:cNvPr id="6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0733106"/>
              </p:ext>
            </p:extLst>
          </p:nvPr>
        </p:nvGraphicFramePr>
        <p:xfrm>
          <a:off x="59419" y="81660"/>
          <a:ext cx="601021" cy="452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1" name="CorelDRAW" r:id="rId3" imgW="2120760" imgH="1596240" progId="">
                  <p:embed/>
                </p:oleObj>
              </mc:Choice>
              <mc:Fallback>
                <p:oleObj name="CorelDRAW" r:id="rId3" imgW="2120760" imgH="1596240" progId="">
                  <p:embed/>
                  <p:pic>
                    <p:nvPicPr>
                      <p:cNvPr id="8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19" y="81660"/>
                        <a:ext cx="601021" cy="4525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51547"/>
              </p:ext>
            </p:extLst>
          </p:nvPr>
        </p:nvGraphicFramePr>
        <p:xfrm>
          <a:off x="359929" y="789664"/>
          <a:ext cx="8172450" cy="41633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8656">
                  <a:extLst>
                    <a:ext uri="{9D8B030D-6E8A-4147-A177-3AD203B41FA5}">
                      <a16:colId xmlns:a16="http://schemas.microsoft.com/office/drawing/2014/main" val="906626765"/>
                    </a:ext>
                  </a:extLst>
                </a:gridCol>
                <a:gridCol w="1026458">
                  <a:extLst>
                    <a:ext uri="{9D8B030D-6E8A-4147-A177-3AD203B41FA5}">
                      <a16:colId xmlns:a16="http://schemas.microsoft.com/office/drawing/2014/main" val="1309427359"/>
                    </a:ext>
                  </a:extLst>
                </a:gridCol>
                <a:gridCol w="207207">
                  <a:extLst>
                    <a:ext uri="{9D8B030D-6E8A-4147-A177-3AD203B41FA5}">
                      <a16:colId xmlns:a16="http://schemas.microsoft.com/office/drawing/2014/main" val="4195042238"/>
                    </a:ext>
                  </a:extLst>
                </a:gridCol>
                <a:gridCol w="2269058">
                  <a:extLst>
                    <a:ext uri="{9D8B030D-6E8A-4147-A177-3AD203B41FA5}">
                      <a16:colId xmlns:a16="http://schemas.microsoft.com/office/drawing/2014/main" val="2171911891"/>
                    </a:ext>
                  </a:extLst>
                </a:gridCol>
                <a:gridCol w="1453053">
                  <a:extLst>
                    <a:ext uri="{9D8B030D-6E8A-4147-A177-3AD203B41FA5}">
                      <a16:colId xmlns:a16="http://schemas.microsoft.com/office/drawing/2014/main" val="870999691"/>
                    </a:ext>
                  </a:extLst>
                </a:gridCol>
                <a:gridCol w="2048018">
                  <a:extLst>
                    <a:ext uri="{9D8B030D-6E8A-4147-A177-3AD203B41FA5}">
                      <a16:colId xmlns:a16="http://schemas.microsoft.com/office/drawing/2014/main" val="2853659061"/>
                    </a:ext>
                  </a:extLst>
                </a:gridCol>
              </a:tblGrid>
              <a:tr h="39617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тивные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стоятельства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йствия администратора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rgbClr val="CC99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йствия модератора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йствия куратора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йствия оператора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443150"/>
                  </a:ext>
                </a:extLst>
              </a:tr>
              <a:tr h="195678">
                <a:tc gridSpan="6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ый этап «Направление запроса»</a:t>
                      </a:r>
                      <a:endParaRPr lang="ru-RU" sz="11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1754631"/>
                  </a:ext>
                </a:extLst>
              </a:tr>
              <a:tr h="1478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ступление кризисной ситуации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стрирует информацию о кризисной ситуации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ет под контроль  организацию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тивного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цесса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7345" indent="-34734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lang="ru-RU" sz="9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тор после получения запроса регистрирует запрос в  журнале модерации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28600" indent="-22860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</a:t>
                      </a:r>
                      <a:r>
                        <a:rPr lang="ru-RU" sz="9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тор после получения запроса и информационной справки в течение двух рабочих дней осуществляет деятельность по организационно-методической поддержке оператора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</a:t>
                      </a:r>
                      <a:r>
                        <a:rPr lang="ru-RU" sz="9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ратор модерации уведомляет о кризисной ситуации администратора модерации в течение трех часов после получения информации от оператора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sz="9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возникновении кризисной ситуации оператор в течение суток уведомляет куратора модерации о кризисной ситуации,  направляет запрос модератору в соответствие с прилагаемой формой и информационную справку о кризисной ситуации с указанием кризисной ситуации согласно кризисной карте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606400"/>
                  </a:ext>
                </a:extLst>
              </a:tr>
              <a:tr h="177133">
                <a:tc gridSpan="6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торой этап «</a:t>
                      </a:r>
                      <a:r>
                        <a:rPr lang="ru-RU" sz="1100" b="1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ция</a:t>
                      </a: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endParaRPr lang="ru-RU" sz="11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8055639"/>
                  </a:ext>
                </a:extLst>
              </a:tr>
              <a:tr h="191584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шение кризисной ситуации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 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 контроль за реализацией процесса модерации (на всех этапах модерации)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r>
                        <a:rPr lang="ru-RU" sz="9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Не позднее чем в течение двух рабочих дней модератор направляет оператору модерации алгоритмы действий в кризисной ситуации. Алгоритмы действий в кризисной ситуации модератора обязательны к исполнению, при этом оператор модерации имеет право вносить дополнительные пункты в представленные модератором рекомендации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 </a:t>
                      </a:r>
                      <a:r>
                        <a:rPr lang="ru-RU" sz="9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тор дублирует направленную оператору модерации информацию куратору модерации для осуществления контроля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 </a:t>
                      </a:r>
                      <a:r>
                        <a:rPr lang="ru-RU" sz="9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ратор модерации осуществляет контроль за деятельностью оператора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 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ератор модерации начинает работу по решению кризисной ситуации, опираясь на алгоритмы действий в кризисной ситуации, направленные модератором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92" marR="3992" marT="1996" marB="1996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304825"/>
                  </a:ext>
                </a:extLst>
              </a:tr>
            </a:tbl>
          </a:graphicData>
        </a:graphic>
      </p:graphicFrame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9D3F7875-CD52-468F-BA64-73A20E8D7F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9745" y="81661"/>
            <a:ext cx="548036" cy="651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58395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Заголовок 30"/>
          <p:cNvSpPr>
            <a:spLocks noGrp="1"/>
          </p:cNvSpPr>
          <p:nvPr>
            <p:ph type="title"/>
          </p:nvPr>
        </p:nvSpPr>
        <p:spPr>
          <a:xfrm>
            <a:off x="162687" y="0"/>
            <a:ext cx="8418576" cy="492443"/>
          </a:xfrm>
        </p:spPr>
        <p:txBody>
          <a:bodyPr>
            <a:normAutofit fontScale="90000"/>
          </a:bodyPr>
          <a:lstStyle/>
          <a:p>
            <a:pPr algn="l"/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горитм работы по порядку Технологии</a:t>
            </a:r>
          </a:p>
        </p:txBody>
      </p:sp>
      <p:graphicFrame>
        <p:nvGraphicFramePr>
          <p:cNvPr id="6" name="Объект 1"/>
          <p:cNvGraphicFramePr>
            <a:graphicFrameLocks noChangeAspect="1"/>
          </p:cNvGraphicFramePr>
          <p:nvPr/>
        </p:nvGraphicFramePr>
        <p:xfrm>
          <a:off x="59419" y="81660"/>
          <a:ext cx="601021" cy="452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9" name="CorelDRAW" r:id="rId3" imgW="2120760" imgH="1596240" progId="">
                  <p:embed/>
                </p:oleObj>
              </mc:Choice>
              <mc:Fallback>
                <p:oleObj name="CorelDRAW" r:id="rId3" imgW="2120760" imgH="1596240" progId="">
                  <p:embed/>
                  <p:pic>
                    <p:nvPicPr>
                      <p:cNvPr id="6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19" y="81660"/>
                        <a:ext cx="601021" cy="4525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495907"/>
              </p:ext>
            </p:extLst>
          </p:nvPr>
        </p:nvGraphicFramePr>
        <p:xfrm>
          <a:off x="162687" y="580405"/>
          <a:ext cx="8844908" cy="43413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0502">
                  <a:extLst>
                    <a:ext uri="{9D8B030D-6E8A-4147-A177-3AD203B41FA5}">
                      <a16:colId xmlns:a16="http://schemas.microsoft.com/office/drawing/2014/main" val="1440635117"/>
                    </a:ext>
                  </a:extLst>
                </a:gridCol>
                <a:gridCol w="1473086">
                  <a:extLst>
                    <a:ext uri="{9D8B030D-6E8A-4147-A177-3AD203B41FA5}">
                      <a16:colId xmlns:a16="http://schemas.microsoft.com/office/drawing/2014/main" val="2472501554"/>
                    </a:ext>
                  </a:extLst>
                </a:gridCol>
                <a:gridCol w="2646295">
                  <a:extLst>
                    <a:ext uri="{9D8B030D-6E8A-4147-A177-3AD203B41FA5}">
                      <a16:colId xmlns:a16="http://schemas.microsoft.com/office/drawing/2014/main" val="3465997767"/>
                    </a:ext>
                  </a:extLst>
                </a:gridCol>
                <a:gridCol w="1227053">
                  <a:extLst>
                    <a:ext uri="{9D8B030D-6E8A-4147-A177-3AD203B41FA5}">
                      <a16:colId xmlns:a16="http://schemas.microsoft.com/office/drawing/2014/main" val="1688989736"/>
                    </a:ext>
                  </a:extLst>
                </a:gridCol>
                <a:gridCol w="2167972">
                  <a:extLst>
                    <a:ext uri="{9D8B030D-6E8A-4147-A177-3AD203B41FA5}">
                      <a16:colId xmlns:a16="http://schemas.microsoft.com/office/drawing/2014/main" val="702839381"/>
                    </a:ext>
                  </a:extLst>
                </a:gridCol>
              </a:tblGrid>
              <a:tr h="3554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тивные</a:t>
                      </a: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стоятельства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йствия администратора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йствия модератора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йствия куратора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йствия оператора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7229497"/>
                  </a:ext>
                </a:extLst>
              </a:tr>
              <a:tr h="178768"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етий  этап «Аналитический»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5429889"/>
                  </a:ext>
                </a:extLst>
              </a:tr>
              <a:tr h="29841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ниторинг эффективности решения кризисной ситуации. Завершение модерации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. </a:t>
                      </a: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роль на всех этапах модерации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7345" indent="-34734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</a:t>
                      </a: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одератор после получения промежуточных отчетов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ирует эффективность работы, при необходимости вносит коррективы в направленные ранее рекомендации и направляет оператору модерации, а также куратору модерации.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7345" indent="-34734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. </a:t>
                      </a: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тор после получения итоговых отчетов анализирует эффективность работы, в течение 7 рабочих дней после получения отчета от оператора модерации. 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7345" indent="-34734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ставляет итоговый отчет по модерации кризисной ситуации с обязательными инструкциями по дальнейшему сопровождению участников кризисной ситуации,  направляет оператору модерации, куратору модерации, администратору модерации. 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7345" indent="-34734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. </a:t>
                      </a: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тор завершает </a:t>
                      </a:r>
                      <a:r>
                        <a:rPr lang="ru-RU" sz="800" kern="12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цию</a:t>
                      </a: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сле получения, в установленные сроки, всех отчетных документов от оператора модерации и наличия показателей эффективности технологии.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 </a:t>
                      </a: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ратор модерации осуществляет контроль за деятельностью оператора модерации.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Оператор модерации предоставляет промежуточные и итоговые отчеты модератору в установленные алгоритмами сроками. 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. </a:t>
                      </a: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случае направления </a:t>
                      </a:r>
                      <a:r>
                        <a:rPr lang="ru-RU" sz="800" kern="12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аторм</a:t>
                      </a: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нформации с внесенными корректировками, оператор продолжает работу согласно, внесенным изменениям.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бо продолжает работу согласно намеченному плану без изменений.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89562"/>
                  </a:ext>
                </a:extLst>
              </a:tr>
              <a:tr h="178768"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етвертый этап «Пролонгированная поддержка»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1501151"/>
                  </a:ext>
                </a:extLst>
              </a:tr>
              <a:tr h="6425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а после завершения  процесса модерации (вне Технологии модерации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ле завершения модерации администратор определяет дальнейшие стратегии поддержки специалистов, организующих деятельность по минимизации последствий кризисной ситуации. Администратор инициирует деятельность по реализации различных технологий сопровождения уже вне процесса модерации.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06" marR="2906" marT="1453" marB="1453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6289034"/>
                  </a:ext>
                </a:extLst>
              </a:tr>
            </a:tbl>
          </a:graphicData>
        </a:graphic>
      </p:graphicFrame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A4EB540D-7C35-4EDA-8133-866CF5BFA0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1684" y="0"/>
            <a:ext cx="525911" cy="625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4030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59929" y="396799"/>
            <a:ext cx="8418576" cy="307777"/>
          </a:xfrm>
        </p:spPr>
        <p:txBody>
          <a:bodyPr/>
          <a:lstStyle/>
          <a:p>
            <a:pPr algn="l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Результаты работы по Технологии за период 2020-2022 гг.</a:t>
            </a: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459167050"/>
              </p:ext>
            </p:extLst>
          </p:nvPr>
        </p:nvGraphicFramePr>
        <p:xfrm>
          <a:off x="457200" y="1182687"/>
          <a:ext cx="3978275" cy="31607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Объект 10"/>
          <p:cNvSpPr>
            <a:spLocks noGrp="1"/>
          </p:cNvSpPr>
          <p:nvPr>
            <p:ph sz="half" idx="3"/>
          </p:nvPr>
        </p:nvSpPr>
        <p:spPr>
          <a:xfrm>
            <a:off x="4709159" y="1183005"/>
            <a:ext cx="4173583" cy="3180358"/>
          </a:xfrm>
        </p:spPr>
        <p:txBody>
          <a:bodyPr/>
          <a:lstStyle/>
          <a:p>
            <a:pPr algn="ctr"/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причин</a:t>
            </a: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ершенный суицид – 12</a:t>
            </a: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пытки суицида – 10</a:t>
            </a: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яжелая жизненная ситуация – 1 </a:t>
            </a: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частный случай – 2</a:t>
            </a: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ивоправное поведение – 1 </a:t>
            </a: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силие – 1</a:t>
            </a:r>
          </a:p>
          <a:p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0733106"/>
              </p:ext>
            </p:extLst>
          </p:nvPr>
        </p:nvGraphicFramePr>
        <p:xfrm>
          <a:off x="59419" y="81660"/>
          <a:ext cx="601021" cy="452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6" name="CorelDRAW" r:id="rId8" imgW="2120760" imgH="1596240" progId="">
                  <p:embed/>
                </p:oleObj>
              </mc:Choice>
              <mc:Fallback>
                <p:oleObj name="CorelDRAW" r:id="rId8" imgW="2120760" imgH="1596240" progId="">
                  <p:embed/>
                  <p:pic>
                    <p:nvPicPr>
                      <p:cNvPr id="8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19" y="81660"/>
                        <a:ext cx="601021" cy="4525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2A8CCF1C-5E67-4A79-BA28-E620C5A7AE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9745" y="81661"/>
            <a:ext cx="548036" cy="651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51001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08EBDF6-CE55-4855-BA18-2AA01486EF1D}"/>
              </a:ext>
            </a:extLst>
          </p:cNvPr>
          <p:cNvSpPr txBox="1"/>
          <p:nvPr/>
        </p:nvSpPr>
        <p:spPr>
          <a:xfrm>
            <a:off x="667906" y="166319"/>
            <a:ext cx="76581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авнительный анализ по годам (2020-2022 гг.)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F72189AE-5CD3-4E60-8387-96944AA7A5DF}"/>
              </a:ext>
            </a:extLst>
          </p:cNvPr>
          <p:cNvGrpSpPr/>
          <p:nvPr/>
        </p:nvGrpSpPr>
        <p:grpSpPr>
          <a:xfrm>
            <a:off x="218210" y="947216"/>
            <a:ext cx="3106601" cy="1521491"/>
            <a:chOff x="489064" y="947216"/>
            <a:chExt cx="4605461" cy="1146600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8D39BAAA-CE54-40B3-8277-FF0B6DC198D9}"/>
                </a:ext>
              </a:extLst>
            </p:cNvPr>
            <p:cNvSpPr/>
            <p:nvPr/>
          </p:nvSpPr>
          <p:spPr>
            <a:xfrm>
              <a:off x="617636" y="947216"/>
              <a:ext cx="4476889" cy="231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ru-RU" sz="1400" b="1" dirty="0">
                <a:solidFill>
                  <a:schemeClr val="accent6">
                    <a:lumMod val="75000"/>
                  </a:schemeClr>
                </a:solidFill>
                <a:latin typeface="+mj-lt"/>
              </a:endParaRPr>
            </a:p>
          </p:txBody>
        </p: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6BD4CB7B-CFA7-4D2D-99EF-F6A1A8CCFA38}"/>
                </a:ext>
              </a:extLst>
            </p:cNvPr>
            <p:cNvCxnSpPr>
              <a:cxnSpLocks/>
            </p:cNvCxnSpPr>
            <p:nvPr/>
          </p:nvCxnSpPr>
          <p:spPr>
            <a:xfrm>
              <a:off x="489064" y="1905187"/>
              <a:ext cx="4605461" cy="0"/>
            </a:xfrm>
            <a:prstGeom prst="line">
              <a:avLst/>
            </a:prstGeom>
            <a:ln w="3810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3E1B797-D8A5-45AF-9C45-2646352DF6DD}"/>
                </a:ext>
              </a:extLst>
            </p:cNvPr>
            <p:cNvSpPr txBox="1"/>
            <p:nvPr/>
          </p:nvSpPr>
          <p:spPr>
            <a:xfrm>
              <a:off x="793188" y="1374798"/>
              <a:ext cx="3464641" cy="7190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Работа организована, практически, в 100% случаях в дистанционном формате</a:t>
              </a:r>
              <a:endParaRPr lang="ru-RU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aphicFrame>
        <p:nvGraphicFramePr>
          <p:cNvPr id="15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56154312"/>
              </p:ext>
            </p:extLst>
          </p:nvPr>
        </p:nvGraphicFramePr>
        <p:xfrm>
          <a:off x="0" y="33988"/>
          <a:ext cx="601021" cy="452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1" name="CorelDRAW" r:id="rId3" imgW="2120760" imgH="1596240" progId="">
                  <p:embed/>
                </p:oleObj>
              </mc:Choice>
              <mc:Fallback>
                <p:oleObj name="CorelDRAW" r:id="rId3" imgW="2120760" imgH="1596240" progId="">
                  <p:embed/>
                  <p:pic>
                    <p:nvPicPr>
                      <p:cNvPr id="8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3988"/>
                        <a:ext cx="601021" cy="4525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677638639"/>
              </p:ext>
            </p:extLst>
          </p:nvPr>
        </p:nvGraphicFramePr>
        <p:xfrm>
          <a:off x="3121891" y="1232391"/>
          <a:ext cx="54864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1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517A79E-70CA-4BC2-AB76-C1A5642257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9745" y="81661"/>
            <a:ext cx="548036" cy="651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5761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0440" y="-180843"/>
            <a:ext cx="7472218" cy="361685"/>
          </a:xfrm>
        </p:spPr>
        <p:txBody>
          <a:bodyPr>
            <a:normAutofit fontScale="90000"/>
          </a:bodyPr>
          <a:lstStyle/>
          <a:p>
            <a:pPr algn="ctr"/>
            <a:br>
              <a:rPr lang="ru-RU" sz="1800" dirty="0">
                <a:solidFill>
                  <a:schemeClr val="tx1"/>
                </a:solidFill>
                <a:latin typeface="+mj-lt"/>
              </a:rPr>
            </a:br>
            <a:r>
              <a:rPr 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обратной связи муниципальных районов о работе в  рамках модерации</a:t>
            </a:r>
            <a:br>
              <a:rPr 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 результатам отчетов и анкет обратной связи)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D9E492-D157-4C61-A4AC-91372364ABF6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686315768"/>
              </p:ext>
            </p:extLst>
          </p:nvPr>
        </p:nvGraphicFramePr>
        <p:xfrm>
          <a:off x="213303" y="1149973"/>
          <a:ext cx="8582025" cy="3994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Стрелка вправо 2"/>
          <p:cNvSpPr/>
          <p:nvPr/>
        </p:nvSpPr>
        <p:spPr>
          <a:xfrm>
            <a:off x="2598913" y="4569968"/>
            <a:ext cx="816746" cy="484632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Стрелка вправо 6"/>
          <p:cNvSpPr/>
          <p:nvPr/>
        </p:nvSpPr>
        <p:spPr>
          <a:xfrm>
            <a:off x="5627411" y="4601147"/>
            <a:ext cx="816746" cy="484632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8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0733106"/>
              </p:ext>
            </p:extLst>
          </p:nvPr>
        </p:nvGraphicFramePr>
        <p:xfrm>
          <a:off x="59419" y="81660"/>
          <a:ext cx="601021" cy="452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0" name="CorelDRAW" r:id="rId8" imgW="2120760" imgH="1596240" progId="">
                  <p:embed/>
                </p:oleObj>
              </mc:Choice>
              <mc:Fallback>
                <p:oleObj name="CorelDRAW" r:id="rId8" imgW="2120760" imgH="1596240" progId="">
                  <p:embed/>
                  <p:pic>
                    <p:nvPicPr>
                      <p:cNvPr id="8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19" y="81660"/>
                        <a:ext cx="601021" cy="45258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354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2&quot;&gt;&lt;elem m_fUsage=&quot;5.17177459900000080495E+00&quot;&gt;&lt;m_msothmcolidx val=&quot;0&quot;/&gt;&lt;m_rgb r=&quot;00&quot; g=&quot;E1&quot; b=&quot;65&quot;/&gt;&lt;m_nBrightness endver=&quot;26206&quot; val=&quot;0&quot;/&gt;&lt;/elem&gt;&lt;elem m_fUsage=&quot;2.13996981890430726381E+00&quot;&gt;&lt;m_msothmcolidx val=&quot;0&quot;/&gt;&lt;m_rgb r=&quot;00&quot; g=&quot;70&quot; b=&quot;C0&quot;/&gt;&lt;m_nBrightness endver=&quot;26206&quot; val=&quot;0&quot;/&gt;&lt;/elem&gt;&lt;elem m_fUsage=&quot;2.03890328307015167297E+00&quot;&gt;&lt;m_msothmcolidx val=&quot;0&quot;/&gt;&lt;m_rgb r=&quot;00&quot; g=&quot;B0&quot; b=&quot;50&quot;/&gt;&lt;m_nBrightness endver=&quot;26206&quot; val=&quot;0&quot;/&gt;&lt;/elem&gt;&lt;elem m_fUsage=&quot;3.05983916996290905566E-01&quot;&gt;&lt;m_msothmcolidx val=&quot;0&quot;/&gt;&lt;m_rgb r=&quot;FF&quot; g=&quot;00&quot; b=&quot;00&quot;/&gt;&lt;m_nBrightness endver=&quot;26206&quot; val=&quot;0&quot;/&gt;&lt;/elem&gt;&lt;elem m_fUsage=&quot;1.19595746758259471876E-01&quot;&gt;&lt;m_msothmcolidx val=&quot;0&quot;/&gt;&lt;m_rgb r=&quot;FE&quot; g=&quot;37&quot; b=&quot;37&quot;/&gt;&lt;m_nBrightness endver=&quot;26206&quot; val=&quot;0&quot;/&gt;&lt;/elem&gt;&lt;elem m_fUsage=&quot;8.60612034075983606263E-02&quot;&gt;&lt;m_msothmcolidx val=&quot;0&quot;/&gt;&lt;m_rgb r=&quot;0C&quot; g=&quot;C2&quot; b=&quot;79&quot;/&gt;&lt;m_nBrightness endver=&quot;26206&quot; val=&quot;0&quot;/&gt;&lt;/elem&gt;&lt;elem m_fUsage=&quot;2.25283995449391989674E-02&quot;&gt;&lt;m_msothmcolidx val=&quot;0&quot;/&gt;&lt;m_rgb r=&quot;CC&quot; g=&quot;FF&quot; b=&quot;CC&quot;/&gt;&lt;m_nBrightness endver=&quot;26206&quot; val=&quot;0&quot;/&gt;&lt;/elem&gt;&lt;elem m_fUsage=&quot;2.16702524804372742562E-02&quot;&gt;&lt;m_msothmcolidx val=&quot;0&quot;/&gt;&lt;m_rgb r=&quot;FF&quot; g=&quot;AE&quot; b=&quot;AE&quot;/&gt;&lt;m_nBrightness endver=&quot;26206&quot; val=&quot;0&quot;/&gt;&lt;/elem&gt;&lt;elem m_fUsage=&quot;2.13892242012112716865E-02&quot;&gt;&lt;m_msothmcolidx val=&quot;0&quot;/&gt;&lt;m_rgb r=&quot;91&quot; g=&quot;13&quot; b=&quot;60&quot;/&gt;&lt;m_nBrightness endver=&quot;26206&quot; val=&quot;0&quot;/&gt;&lt;/elem&gt;&lt;elem m_fUsage=&quot;2.11579618585700998667E-02&quot;&gt;&lt;m_msothmcolidx val=&quot;0&quot;/&gt;&lt;m_rgb r=&quot;62&quot; g=&quot;A2&quot; b=&quot;97&quot;/&gt;&lt;m_nBrightness endver=&quot;26206&quot; val=&quot;0&quot;/&gt;&lt;/elem&gt;&lt;elem m_fUsage=&quot;1.45834575107592658016E-02&quot;&gt;&lt;m_msothmcolidx val=&quot;0&quot;/&gt;&lt;m_rgb r=&quot;0D&quot; g=&quot;62&quot; b=&quot;00&quot;/&gt;&lt;m_nBrightness endver=&quot;26206&quot; val=&quot;0&quot;/&gt;&lt;/elem&gt;&lt;elem m_fUsage=&quot;8.72796356808772273717E-03&quot;&gt;&lt;m_msothmcolidx val=&quot;0&quot;/&gt;&lt;m_rgb r=&quot;B6&quot; g=&quot;01&quot; b=&quot;01&quot;/&gt;&lt;m_nBrightness endver=&quot;26206&quot; val=&quot;0&quot;/&gt;&lt;/elem&gt;&lt;elem m_fUsage=&quot;8.05625587985370726629E-03&quot;&gt;&lt;m_msothmcolidx val=&quot;0&quot;/&gt;&lt;m_rgb r=&quot;34&quot; g=&quot;34&quot; b=&quot;34&quot;/&gt;&lt;m_nBrightness endver=&quot;26206&quot; val=&quot;0&quot;/&gt;&lt;/elem&gt;&lt;elem m_fUsage=&quot;6.36268544113594968631E-03&quot;&gt;&lt;m_msothmcolidx val=&quot;0&quot;/&gt;&lt;m_rgb r=&quot;FF&quot; g=&quot;BC&quot; b=&quot;BC&quot;/&gt;&lt;m_nBrightness endver=&quot;26206&quot; val=&quot;0&quot;/&gt;&lt;/elem&gt;&lt;elem m_fUsage=&quot;4.07203309913773542350E-03&quot;&gt;&lt;m_msothmcolidx val=&quot;0&quot;/&gt;&lt;m_rgb r=&quot;A5&quot; g=&quot;A5&quot; b=&quot;AA&quot;/&gt;&lt;m_nBrightness endver=&quot;26206&quot; val=&quot;0&quot;/&gt;&lt;/elem&gt;&lt;elem m_fUsage=&quot;3.42187567954557649713E-03&quot;&gt;&lt;m_msothmcolidx val=&quot;0&quot;/&gt;&lt;m_rgb r=&quot;92&quot; g=&quot;18&quot; b=&quot;4F&quot;/&gt;&lt;m_nBrightness endver=&quot;26206&quot; val=&quot;0&quot;/&gt;&lt;/elem&gt;&lt;elem m_fUsage=&quot;1.99667811101603706950E-03&quot;&gt;&lt;m_msothmcolidx val=&quot;0&quot;/&gt;&lt;m_rgb r=&quot;FF&quot; g=&quot;99&quot; b=&quot;00&quot;/&gt;&lt;m_nBrightness endver=&quot;26206&quot; val=&quot;0&quot;/&gt;&lt;/elem&gt;&lt;elem m_fUsage=&quot;1.79701029991443349265E-03&quot;&gt;&lt;m_msothmcolidx val=&quot;0&quot;/&gt;&lt;m_rgb r=&quot;F9&quot; g=&quot;F3&quot; b=&quot;8A&quot;/&gt;&lt;m_nBrightness endver=&quot;26206&quot; val=&quot;0&quot;/&gt;&lt;/elem&gt;&lt;elem m_fUsage=&quot;1.29489106117042554987E-03&quot;&gt;&lt;m_msothmcolidx val=&quot;0&quot;/&gt;&lt;m_rgb r=&quot;00&quot; g=&quot;20&quot; b=&quot;60&quot;/&gt;&lt;m_nBrightness endver=&quot;26206&quot; val=&quot;0&quot;/&gt;&lt;/elem&gt;&lt;elem m_fUsage=&quot;3.25262652680244096926E-04&quot;&gt;&lt;m_msothmcolidx val=&quot;0&quot;/&gt;&lt;m_rgb r=&quot;66&quot; g=&quot;00&quot; b=&quot;33&quot;/&gt;&lt;m_nBrightness endver=&quot;26206&quot; val=&quot;0&quot;/&gt;&lt;/elem&gt;&lt;elem m_fUsage=&quot;1.08229174585794819374E-04&quot;&gt;&lt;m_msothmcolidx val=&quot;0&quot;/&gt;&lt;m_rgb r=&quot;0D&quot; g=&quot;35&quot; b=&quot;7A&quot;/&gt;&lt;m_nBrightness endver=&quot;26206&quot; val=&quot;0&quot;/&gt;&lt;/elem&gt;&lt;elem m_fUsage=&quot;4.49819622476037563551E-05&quot;&gt;&lt;m_msothmcolidx val=&quot;0&quot;/&gt;&lt;m_rgb r=&quot;74&quot; g=&quot;25&quot; b=&quot;4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EjX8MzkYyuGciE9wc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heme/theme1.xml><?xml version="1.0" encoding="utf-8"?>
<a:theme xmlns:a="http://schemas.openxmlformats.org/drawingml/2006/main" name="Легкий дым">
  <a:themeElements>
    <a:clrScheme name="Легкий дым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Легкий дым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Легкий дым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45175</TotalTime>
  <Words>1031</Words>
  <Application>Microsoft Office PowerPoint</Application>
  <PresentationFormat>Экран (16:9)</PresentationFormat>
  <Paragraphs>112</Paragraphs>
  <Slides>1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24" baseType="lpstr">
      <vt:lpstr>Arial</vt:lpstr>
      <vt:lpstr>Arial Nova</vt:lpstr>
      <vt:lpstr>Calibri</vt:lpstr>
      <vt:lpstr>Century Gothic</vt:lpstr>
      <vt:lpstr>Courier New</vt:lpstr>
      <vt:lpstr>Monotype Corsiva</vt:lpstr>
      <vt:lpstr>Times New Roman</vt:lpstr>
      <vt:lpstr>Wingdings</vt:lpstr>
      <vt:lpstr>Wingdings 3</vt:lpstr>
      <vt:lpstr>Легкий дым</vt:lpstr>
      <vt:lpstr>think-cell Slide</vt:lpstr>
      <vt:lpstr>CorelDRAW</vt:lpstr>
      <vt:lpstr>Технология модерации кризисных ситуаций в образовательном пространстве Забайкальского края   Педагог-психолог ГУ «Центр «Семья»  Д.Н. Петина   </vt:lpstr>
      <vt:lpstr>ОПРЕДЕЛЕНИЯ</vt:lpstr>
      <vt:lpstr>Нормативно-правовая регламентация</vt:lpstr>
      <vt:lpstr>Ориентиры Технологии</vt:lpstr>
      <vt:lpstr>           Алгоритм работы по порядку Технологии</vt:lpstr>
      <vt:lpstr>           Алгоритм работы по порядку Технологии</vt:lpstr>
      <vt:lpstr>      Результаты работы по Технологии за период 2020-2022 гг.</vt:lpstr>
      <vt:lpstr>Презентация PowerPoint</vt:lpstr>
      <vt:lpstr> Анализ обратной связи муниципальных районов о работе в  рамках модерации (по результатам отчетов и анкет обратной связи)</vt:lpstr>
      <vt:lpstr>Анализ сложностей работы по Технологии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НЕГАТИВНЫХ ТРЕНДАХ В БЮДЖЕТНОЙ ОБЕСПЕЧЕННОСТИ ЗАБАЙКАЛЬСКОГО КРАЯ</dc:title>
  <dc:creator>Il Ak</dc:creator>
  <cp:lastModifiedBy>Анатолий Демцев</cp:lastModifiedBy>
  <cp:revision>1590</cp:revision>
  <cp:lastPrinted>2022-03-23T08:32:30Z</cp:lastPrinted>
  <dcterms:created xsi:type="dcterms:W3CDTF">2019-03-30T07:42:18Z</dcterms:created>
  <dcterms:modified xsi:type="dcterms:W3CDTF">2022-05-11T07:04:34Z</dcterms:modified>
</cp:coreProperties>
</file>